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5.xml" ContentType="application/vnd.openxmlformats-officedocument.presentationml.notesSlide+xml"/>
  <Override PartName="/ppt/tags/tag15.xml" ContentType="application/vnd.openxmlformats-officedocument.presentationml.tags+xml"/>
  <Override PartName="/ppt/notesSlides/notesSlide6.xml" ContentType="application/vnd.openxmlformats-officedocument.presentationml.notesSlide+xml"/>
  <Override PartName="/ppt/tags/tag16.xml" ContentType="application/vnd.openxmlformats-officedocument.presentationml.tags+xml"/>
  <Override PartName="/ppt/notesSlides/notesSlide7.xml" ContentType="application/vnd.openxmlformats-officedocument.presentationml.notesSlide+xml"/>
  <Override PartName="/ppt/tags/tag17.xml" ContentType="application/vnd.openxmlformats-officedocument.presentationml.tags+xml"/>
  <Override PartName="/ppt/notesSlides/notesSlide8.xml" ContentType="application/vnd.openxmlformats-officedocument.presentationml.notesSlide+xml"/>
  <Override PartName="/ppt/tags/tag18.xml" ContentType="application/vnd.openxmlformats-officedocument.presentationml.tags+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696" r:id="rId2"/>
    <p:sldMasterId id="2147483708" r:id="rId3"/>
  </p:sldMasterIdLst>
  <p:notesMasterIdLst>
    <p:notesMasterId r:id="rId19"/>
  </p:notesMasterIdLst>
  <p:handoutMasterIdLst>
    <p:handoutMasterId r:id="rId20"/>
  </p:handoutMasterIdLst>
  <p:sldIdLst>
    <p:sldId id="304" r:id="rId4"/>
    <p:sldId id="300" r:id="rId5"/>
    <p:sldId id="259" r:id="rId6"/>
    <p:sldId id="270" r:id="rId7"/>
    <p:sldId id="271" r:id="rId8"/>
    <p:sldId id="276" r:id="rId9"/>
    <p:sldId id="318" r:id="rId10"/>
    <p:sldId id="321" r:id="rId11"/>
    <p:sldId id="319" r:id="rId12"/>
    <p:sldId id="320" r:id="rId13"/>
    <p:sldId id="288" r:id="rId14"/>
    <p:sldId id="289" r:id="rId15"/>
    <p:sldId id="290" r:id="rId16"/>
    <p:sldId id="291" r:id="rId17"/>
    <p:sldId id="269" r:id="rId18"/>
  </p:sldIdLst>
  <p:sldSz cx="12192000" cy="6858000"/>
  <p:notesSz cx="6858000" cy="9144000"/>
  <p:custDataLst>
    <p:tags r:id="rId2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FF4796-6832-844C-247B-1626BA232660}" v="5806" dt="2023-03-09T21:38:00.576"/>
    <p1510:client id="{360DD922-5826-4060-9A99-B486659E9599}" v="67" dt="2023-03-09T21:49:38.118"/>
    <p1510:client id="{4E99356D-1F92-4D6E-8933-121F721F218A}" v="6347" dt="2023-03-09T05:11:16.474"/>
    <p1510:client id="{8F6A5175-026A-82A5-CF70-722A49020F05}" v="1" dt="2023-03-09T21:50:32.31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6" d="100"/>
          <a:sy n="76" d="100"/>
        </p:scale>
        <p:origin x="272" y="5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microsoft.com/office/2016/11/relationships/changesInfo" Target="changesInfos/changesInfo1.xml"/><Relationship Id="rId3" Type="http://schemas.openxmlformats.org/officeDocument/2006/relationships/slideMaster" Target="slideMasters/slideMaster3.xml"/><Relationship Id="rId21" Type="http://schemas.openxmlformats.org/officeDocument/2006/relationships/tags" Target="tags/tag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dhav, Mr. Vicky" userId="3922eaf5-9e27-41b1-b805-d385d1955774" providerId="ADAL" clId="{360DD922-5826-4060-9A99-B486659E9599}"/>
    <pc:docChg chg="undo custSel addSld delSld modSld sldOrd">
      <pc:chgData name="Jadhav, Mr. Vicky" userId="3922eaf5-9e27-41b1-b805-d385d1955774" providerId="ADAL" clId="{360DD922-5826-4060-9A99-B486659E9599}" dt="2023-03-09T21:49:38.118" v="69" actId="20577"/>
      <pc:docMkLst>
        <pc:docMk/>
      </pc:docMkLst>
      <pc:sldChg chg="ord">
        <pc:chgData name="Jadhav, Mr. Vicky" userId="3922eaf5-9e27-41b1-b805-d385d1955774" providerId="ADAL" clId="{360DD922-5826-4060-9A99-B486659E9599}" dt="2023-03-09T21:47:47.513" v="3"/>
        <pc:sldMkLst>
          <pc:docMk/>
          <pc:sldMk cId="3857659446" sldId="331"/>
        </pc:sldMkLst>
      </pc:sldChg>
      <pc:sldChg chg="addSp delSp modSp add mod setBg delDesignElem">
        <pc:chgData name="Jadhav, Mr. Vicky" userId="3922eaf5-9e27-41b1-b805-d385d1955774" providerId="ADAL" clId="{360DD922-5826-4060-9A99-B486659E9599}" dt="2023-03-09T21:49:38.118" v="69" actId="20577"/>
        <pc:sldMkLst>
          <pc:docMk/>
          <pc:sldMk cId="494636979" sldId="336"/>
        </pc:sldMkLst>
        <pc:spChg chg="del mod">
          <ac:chgData name="Jadhav, Mr. Vicky" userId="3922eaf5-9e27-41b1-b805-d385d1955774" providerId="ADAL" clId="{360DD922-5826-4060-9A99-B486659E9599}" dt="2023-03-09T21:48:15.396" v="21" actId="21"/>
          <ac:spMkLst>
            <pc:docMk/>
            <pc:sldMk cId="494636979" sldId="336"/>
            <ac:spMk id="2" creationId="{95217157-7543-6264-2482-0925C9A49FD7}"/>
          </ac:spMkLst>
        </pc:spChg>
        <pc:spChg chg="add mod">
          <ac:chgData name="Jadhav, Mr. Vicky" userId="3922eaf5-9e27-41b1-b805-d385d1955774" providerId="ADAL" clId="{360DD922-5826-4060-9A99-B486659E9599}" dt="2023-03-09T21:49:38.118" v="69" actId="20577"/>
          <ac:spMkLst>
            <pc:docMk/>
            <pc:sldMk cId="494636979" sldId="336"/>
            <ac:spMk id="3" creationId="{7A6CEB40-0914-93EE-9CC0-3A3ADF282953}"/>
          </ac:spMkLst>
        </pc:spChg>
        <pc:spChg chg="del mod">
          <ac:chgData name="Jadhav, Mr. Vicky" userId="3922eaf5-9e27-41b1-b805-d385d1955774" providerId="ADAL" clId="{360DD922-5826-4060-9A99-B486659E9599}" dt="2023-03-09T21:48:07.254" v="15" actId="21"/>
          <ac:spMkLst>
            <pc:docMk/>
            <pc:sldMk cId="494636979" sldId="336"/>
            <ac:spMk id="6" creationId="{2E6B8ABE-303B-09D6-ADC1-1F4B3B808144}"/>
          </ac:spMkLst>
        </pc:spChg>
        <pc:spChg chg="mod">
          <ac:chgData name="Jadhav, Mr. Vicky" userId="3922eaf5-9e27-41b1-b805-d385d1955774" providerId="ADAL" clId="{360DD922-5826-4060-9A99-B486659E9599}" dt="2023-03-09T21:48:22.254" v="23" actId="1076"/>
          <ac:spMkLst>
            <pc:docMk/>
            <pc:sldMk cId="494636979" sldId="336"/>
            <ac:spMk id="7" creationId="{F8C6C7CE-1224-22D1-6EA1-E0DFE995F641}"/>
          </ac:spMkLst>
        </pc:spChg>
        <pc:spChg chg="add mod">
          <ac:chgData name="Jadhav, Mr. Vicky" userId="3922eaf5-9e27-41b1-b805-d385d1955774" providerId="ADAL" clId="{360DD922-5826-4060-9A99-B486659E9599}" dt="2023-03-09T21:49:32.948" v="66" actId="255"/>
          <ac:spMkLst>
            <pc:docMk/>
            <pc:sldMk cId="494636979" sldId="336"/>
            <ac:spMk id="9" creationId="{FBE554C6-1C2E-6F73-2F43-1E8EF38BAAC5}"/>
          </ac:spMkLst>
        </pc:spChg>
        <pc:spChg chg="del mod">
          <ac:chgData name="Jadhav, Mr. Vicky" userId="3922eaf5-9e27-41b1-b805-d385d1955774" providerId="ADAL" clId="{360DD922-5826-4060-9A99-B486659E9599}" dt="2023-03-09T21:47:58.365" v="9" actId="21"/>
          <ac:spMkLst>
            <pc:docMk/>
            <pc:sldMk cId="494636979" sldId="336"/>
            <ac:spMk id="10" creationId="{1E8896A4-6131-7EE6-7FA0-1C8FAA6738CA}"/>
          </ac:spMkLst>
        </pc:spChg>
        <pc:spChg chg="del">
          <ac:chgData name="Jadhav, Mr. Vicky" userId="3922eaf5-9e27-41b1-b805-d385d1955774" providerId="ADAL" clId="{360DD922-5826-4060-9A99-B486659E9599}" dt="2023-03-09T21:47:49.088" v="5"/>
          <ac:spMkLst>
            <pc:docMk/>
            <pc:sldMk cId="494636979" sldId="336"/>
            <ac:spMk id="12" creationId="{201CC55D-ED54-4C5C-95E6-10947BD1103B}"/>
          </ac:spMkLst>
        </pc:spChg>
        <pc:spChg chg="del">
          <ac:chgData name="Jadhav, Mr. Vicky" userId="3922eaf5-9e27-41b1-b805-d385d1955774" providerId="ADAL" clId="{360DD922-5826-4060-9A99-B486659E9599}" dt="2023-03-09T21:47:49.088" v="5"/>
          <ac:spMkLst>
            <pc:docMk/>
            <pc:sldMk cId="494636979" sldId="336"/>
            <ac:spMk id="18" creationId="{3873B707-463F-40B0-8227-E8CC6C67EB25}"/>
          </ac:spMkLst>
        </pc:spChg>
        <pc:spChg chg="del">
          <ac:chgData name="Jadhav, Mr. Vicky" userId="3922eaf5-9e27-41b1-b805-d385d1955774" providerId="ADAL" clId="{360DD922-5826-4060-9A99-B486659E9599}" dt="2023-03-09T21:47:49.088" v="5"/>
          <ac:spMkLst>
            <pc:docMk/>
            <pc:sldMk cId="494636979" sldId="336"/>
            <ac:spMk id="20" creationId="{C13237C8-E62C-4F0D-A318-BD6FB6C2D138}"/>
          </ac:spMkLst>
        </pc:spChg>
        <pc:spChg chg="del">
          <ac:chgData name="Jadhav, Mr. Vicky" userId="3922eaf5-9e27-41b1-b805-d385d1955774" providerId="ADAL" clId="{360DD922-5826-4060-9A99-B486659E9599}" dt="2023-03-09T21:47:49.088" v="5"/>
          <ac:spMkLst>
            <pc:docMk/>
            <pc:sldMk cId="494636979" sldId="336"/>
            <ac:spMk id="22" creationId="{19C9EAEA-39D0-4B0E-A0EB-51E7B26740B1}"/>
          </ac:spMkLst>
        </pc:spChg>
        <pc:grpChg chg="del">
          <ac:chgData name="Jadhav, Mr. Vicky" userId="3922eaf5-9e27-41b1-b805-d385d1955774" providerId="ADAL" clId="{360DD922-5826-4060-9A99-B486659E9599}" dt="2023-03-09T21:47:49.088" v="5"/>
          <ac:grpSpMkLst>
            <pc:docMk/>
            <pc:sldMk cId="494636979" sldId="336"/>
            <ac:grpSpMk id="14" creationId="{1DE889C7-FAD6-4397-98E2-05D503484459}"/>
          </ac:grpSpMkLst>
        </pc:grpChg>
        <pc:picChg chg="del">
          <ac:chgData name="Jadhav, Mr. Vicky" userId="3922eaf5-9e27-41b1-b805-d385d1955774" providerId="ADAL" clId="{360DD922-5826-4060-9A99-B486659E9599}" dt="2023-03-09T21:48:16.380" v="22" actId="478"/>
          <ac:picMkLst>
            <pc:docMk/>
            <pc:sldMk cId="494636979" sldId="336"/>
            <ac:picMk id="5" creationId="{B34D30DF-B91D-6ADB-37A0-F343137A4D49}"/>
          </ac:picMkLst>
        </pc:picChg>
      </pc:sldChg>
      <pc:sldChg chg="new del">
        <pc:chgData name="Jadhav, Mr. Vicky" userId="3922eaf5-9e27-41b1-b805-d385d1955774" providerId="ADAL" clId="{360DD922-5826-4060-9A99-B486659E9599}" dt="2023-03-09T21:47:43.062" v="1" actId="680"/>
        <pc:sldMkLst>
          <pc:docMk/>
          <pc:sldMk cId="2132351445" sldId="336"/>
        </pc:sldMkLst>
      </pc:sldChg>
    </pc:docChg>
  </pc:docChgLst>
  <pc:docChgLst>
    <pc:chgData name="Jadhav, Mr. Vicky" userId="S::vj54818n@pace.edu::3922eaf5-9e27-41b1-b805-d385d1955774" providerId="AD" clId="Web-{26FF4796-6832-844C-247B-1626BA232660}"/>
    <pc:docChg chg="addSld delSld modSld">
      <pc:chgData name="Jadhav, Mr. Vicky" userId="S::vj54818n@pace.edu::3922eaf5-9e27-41b1-b805-d385d1955774" providerId="AD" clId="Web-{26FF4796-6832-844C-247B-1626BA232660}" dt="2023-03-09T21:38:00.576" v="3290" actId="1076"/>
      <pc:docMkLst>
        <pc:docMk/>
      </pc:docMkLst>
      <pc:sldChg chg="del">
        <pc:chgData name="Jadhav, Mr. Vicky" userId="S::vj54818n@pace.edu::3922eaf5-9e27-41b1-b805-d385d1955774" providerId="AD" clId="Web-{26FF4796-6832-844C-247B-1626BA232660}" dt="2023-03-08T22:41:11.616" v="3246"/>
        <pc:sldMkLst>
          <pc:docMk/>
          <pc:sldMk cId="1771431222" sldId="277"/>
        </pc:sldMkLst>
      </pc:sldChg>
      <pc:sldChg chg="modSp">
        <pc:chgData name="Jadhav, Mr. Vicky" userId="S::vj54818n@pace.edu::3922eaf5-9e27-41b1-b805-d385d1955774" providerId="AD" clId="Web-{26FF4796-6832-844C-247B-1626BA232660}" dt="2023-03-08T18:22:57.242" v="160" actId="1076"/>
        <pc:sldMkLst>
          <pc:docMk/>
          <pc:sldMk cId="1441500399" sldId="279"/>
        </pc:sldMkLst>
        <pc:spChg chg="mod">
          <ac:chgData name="Jadhav, Mr. Vicky" userId="S::vj54818n@pace.edu::3922eaf5-9e27-41b1-b805-d385d1955774" providerId="AD" clId="Web-{26FF4796-6832-844C-247B-1626BA232660}" dt="2023-03-08T18:22:57.242" v="160" actId="1076"/>
          <ac:spMkLst>
            <pc:docMk/>
            <pc:sldMk cId="1441500399" sldId="279"/>
            <ac:spMk id="5" creationId="{1E7FBEDF-5050-CB62-E9AA-61CB2A22C15D}"/>
          </ac:spMkLst>
        </pc:spChg>
      </pc:sldChg>
      <pc:sldChg chg="modSp">
        <pc:chgData name="Jadhav, Mr. Vicky" userId="S::vj54818n@pace.edu::3922eaf5-9e27-41b1-b805-d385d1955774" providerId="AD" clId="Web-{26FF4796-6832-844C-247B-1626BA232660}" dt="2023-03-08T18:05:52.730" v="17" actId="1076"/>
        <pc:sldMkLst>
          <pc:docMk/>
          <pc:sldMk cId="97751420" sldId="290"/>
        </pc:sldMkLst>
        <pc:picChg chg="mod">
          <ac:chgData name="Jadhav, Mr. Vicky" userId="S::vj54818n@pace.edu::3922eaf5-9e27-41b1-b805-d385d1955774" providerId="AD" clId="Web-{26FF4796-6832-844C-247B-1626BA232660}" dt="2023-03-08T18:05:52.730" v="17" actId="1076"/>
          <ac:picMkLst>
            <pc:docMk/>
            <pc:sldMk cId="97751420" sldId="290"/>
            <ac:picMk id="7" creationId="{06759588-DB49-BFB9-FEB4-942DA8C8094F}"/>
          </ac:picMkLst>
        </pc:picChg>
      </pc:sldChg>
      <pc:sldChg chg="modSp">
        <pc:chgData name="Jadhav, Mr. Vicky" userId="S::vj54818n@pace.edu::3922eaf5-9e27-41b1-b805-d385d1955774" providerId="AD" clId="Web-{26FF4796-6832-844C-247B-1626BA232660}" dt="2023-03-09T21:38:00.576" v="3290" actId="1076"/>
        <pc:sldMkLst>
          <pc:docMk/>
          <pc:sldMk cId="503225009" sldId="304"/>
        </pc:sldMkLst>
        <pc:grpChg chg="mod">
          <ac:chgData name="Jadhav, Mr. Vicky" userId="S::vj54818n@pace.edu::3922eaf5-9e27-41b1-b805-d385d1955774" providerId="AD" clId="Web-{26FF4796-6832-844C-247B-1626BA232660}" dt="2023-03-09T21:38:00.576" v="3290" actId="1076"/>
          <ac:grpSpMkLst>
            <pc:docMk/>
            <pc:sldMk cId="503225009" sldId="304"/>
            <ac:grpSpMk id="4" creationId="{A70662D3-64CB-9426-CA0D-35D016238F55}"/>
          </ac:grpSpMkLst>
        </pc:grpChg>
      </pc:sldChg>
      <pc:sldChg chg="modSp">
        <pc:chgData name="Jadhav, Mr. Vicky" userId="S::vj54818n@pace.edu::3922eaf5-9e27-41b1-b805-d385d1955774" providerId="AD" clId="Web-{26FF4796-6832-844C-247B-1626BA232660}" dt="2023-03-08T18:55:10.183" v="419" actId="20577"/>
        <pc:sldMkLst>
          <pc:docMk/>
          <pc:sldMk cId="3985600597" sldId="305"/>
        </pc:sldMkLst>
        <pc:spChg chg="mod">
          <ac:chgData name="Jadhav, Mr. Vicky" userId="S::vj54818n@pace.edu::3922eaf5-9e27-41b1-b805-d385d1955774" providerId="AD" clId="Web-{26FF4796-6832-844C-247B-1626BA232660}" dt="2023-03-08T18:55:10.183" v="419" actId="20577"/>
          <ac:spMkLst>
            <pc:docMk/>
            <pc:sldMk cId="3985600597" sldId="305"/>
            <ac:spMk id="3" creationId="{FFA675CD-7810-3DD1-56E7-5E76E2AB7B7D}"/>
          </ac:spMkLst>
        </pc:spChg>
      </pc:sldChg>
      <pc:sldChg chg="modSp">
        <pc:chgData name="Jadhav, Mr. Vicky" userId="S::vj54818n@pace.edu::3922eaf5-9e27-41b1-b805-d385d1955774" providerId="AD" clId="Web-{26FF4796-6832-844C-247B-1626BA232660}" dt="2023-03-08T22:46:16.265" v="3248" actId="1076"/>
        <pc:sldMkLst>
          <pc:docMk/>
          <pc:sldMk cId="1023354823" sldId="307"/>
        </pc:sldMkLst>
        <pc:spChg chg="mod">
          <ac:chgData name="Jadhav, Mr. Vicky" userId="S::vj54818n@pace.edu::3922eaf5-9e27-41b1-b805-d385d1955774" providerId="AD" clId="Web-{26FF4796-6832-844C-247B-1626BA232660}" dt="2023-03-08T22:46:16.265" v="3248" actId="1076"/>
          <ac:spMkLst>
            <pc:docMk/>
            <pc:sldMk cId="1023354823" sldId="307"/>
            <ac:spMk id="3" creationId="{33507D1A-46B2-6D7A-4C38-6541BE7784E0}"/>
          </ac:spMkLst>
        </pc:spChg>
        <pc:picChg chg="mod">
          <ac:chgData name="Jadhav, Mr. Vicky" userId="S::vj54818n@pace.edu::3922eaf5-9e27-41b1-b805-d385d1955774" providerId="AD" clId="Web-{26FF4796-6832-844C-247B-1626BA232660}" dt="2023-03-08T22:46:06.811" v="3247" actId="1076"/>
          <ac:picMkLst>
            <pc:docMk/>
            <pc:sldMk cId="1023354823" sldId="307"/>
            <ac:picMk id="5" creationId="{0BCA6691-7961-4C00-70F9-AB2A18175CF7}"/>
          </ac:picMkLst>
        </pc:picChg>
      </pc:sldChg>
      <pc:sldChg chg="addSp delSp modSp del">
        <pc:chgData name="Jadhav, Mr. Vicky" userId="S::vj54818n@pace.edu::3922eaf5-9e27-41b1-b805-d385d1955774" providerId="AD" clId="Web-{26FF4796-6832-844C-247B-1626BA232660}" dt="2023-03-08T18:27:00.326" v="325"/>
        <pc:sldMkLst>
          <pc:docMk/>
          <pc:sldMk cId="3282460979" sldId="310"/>
        </pc:sldMkLst>
        <pc:spChg chg="mod">
          <ac:chgData name="Jadhav, Mr. Vicky" userId="S::vj54818n@pace.edu::3922eaf5-9e27-41b1-b805-d385d1955774" providerId="AD" clId="Web-{26FF4796-6832-844C-247B-1626BA232660}" dt="2023-03-08T18:26:55.295" v="324" actId="20577"/>
          <ac:spMkLst>
            <pc:docMk/>
            <pc:sldMk cId="3282460979" sldId="310"/>
            <ac:spMk id="2" creationId="{86136D97-BB1F-99AF-C7F9-2622B16E1EB8}"/>
          </ac:spMkLst>
        </pc:spChg>
        <pc:spChg chg="add del mod">
          <ac:chgData name="Jadhav, Mr. Vicky" userId="S::vj54818n@pace.edu::3922eaf5-9e27-41b1-b805-d385d1955774" providerId="AD" clId="Web-{26FF4796-6832-844C-247B-1626BA232660}" dt="2023-03-08T18:12:32.538" v="59"/>
          <ac:spMkLst>
            <pc:docMk/>
            <pc:sldMk cId="3282460979" sldId="310"/>
            <ac:spMk id="5" creationId="{06B2A40B-C97D-7811-8766-B50A8E4F360A}"/>
          </ac:spMkLst>
        </pc:spChg>
        <pc:spChg chg="add mod">
          <ac:chgData name="Jadhav, Mr. Vicky" userId="S::vj54818n@pace.edu::3922eaf5-9e27-41b1-b805-d385d1955774" providerId="AD" clId="Web-{26FF4796-6832-844C-247B-1626BA232660}" dt="2023-03-08T18:13:13.336" v="67" actId="20577"/>
          <ac:spMkLst>
            <pc:docMk/>
            <pc:sldMk cId="3282460979" sldId="310"/>
            <ac:spMk id="8" creationId="{9AB22DBC-6A00-D2F9-581B-0C28CCA589E5}"/>
          </ac:spMkLst>
        </pc:spChg>
        <pc:picChg chg="add mod">
          <ac:chgData name="Jadhav, Mr. Vicky" userId="S::vj54818n@pace.edu::3922eaf5-9e27-41b1-b805-d385d1955774" providerId="AD" clId="Web-{26FF4796-6832-844C-247B-1626BA232660}" dt="2023-03-08T18:21:35.193" v="128" actId="14100"/>
          <ac:picMkLst>
            <pc:docMk/>
            <pc:sldMk cId="3282460979" sldId="310"/>
            <ac:picMk id="3" creationId="{752E4693-78D2-9F94-C687-C7F4FC14B97E}"/>
          </ac:picMkLst>
        </pc:picChg>
        <pc:picChg chg="add del mod">
          <ac:chgData name="Jadhav, Mr. Vicky" userId="S::vj54818n@pace.edu::3922eaf5-9e27-41b1-b805-d385d1955774" providerId="AD" clId="Web-{26FF4796-6832-844C-247B-1626BA232660}" dt="2023-03-08T18:06:52.341" v="26"/>
          <ac:picMkLst>
            <pc:docMk/>
            <pc:sldMk cId="3282460979" sldId="310"/>
            <ac:picMk id="7" creationId="{9E2E0F9B-5241-9F80-8D21-8545CBADE39A}"/>
          </ac:picMkLst>
        </pc:picChg>
        <pc:picChg chg="del">
          <ac:chgData name="Jadhav, Mr. Vicky" userId="S::vj54818n@pace.edu::3922eaf5-9e27-41b1-b805-d385d1955774" providerId="AD" clId="Web-{26FF4796-6832-844C-247B-1626BA232660}" dt="2023-03-08T18:01:41.364" v="1"/>
          <ac:picMkLst>
            <pc:docMk/>
            <pc:sldMk cId="3282460979" sldId="310"/>
            <ac:picMk id="10" creationId="{47E5AC2C-E201-ECD9-2C00-9B93FBF5799B}"/>
          </ac:picMkLst>
        </pc:picChg>
        <pc:picChg chg="add del mod">
          <ac:chgData name="Jadhav, Mr. Vicky" userId="S::vj54818n@pace.edu::3922eaf5-9e27-41b1-b805-d385d1955774" providerId="AD" clId="Web-{26FF4796-6832-844C-247B-1626BA232660}" dt="2023-03-08T18:09:13.704" v="49"/>
          <ac:picMkLst>
            <pc:docMk/>
            <pc:sldMk cId="3282460979" sldId="310"/>
            <ac:picMk id="11" creationId="{5AD7C40F-51DD-74C0-CFDE-B703DC63FB63}"/>
          </ac:picMkLst>
        </pc:picChg>
        <pc:picChg chg="add mod ord modCrop">
          <ac:chgData name="Jadhav, Mr. Vicky" userId="S::vj54818n@pace.edu::3922eaf5-9e27-41b1-b805-d385d1955774" providerId="AD" clId="Web-{26FF4796-6832-844C-247B-1626BA232660}" dt="2023-03-08T18:13:51.290" v="75" actId="1076"/>
          <ac:picMkLst>
            <pc:docMk/>
            <pc:sldMk cId="3282460979" sldId="310"/>
            <ac:picMk id="12" creationId="{11081A04-3750-4BAD-5C57-2670FEC35ACC}"/>
          </ac:picMkLst>
        </pc:picChg>
      </pc:sldChg>
      <pc:sldChg chg="addSp delSp modSp mod setBg">
        <pc:chgData name="Jadhav, Mr. Vicky" userId="S::vj54818n@pace.edu::3922eaf5-9e27-41b1-b805-d385d1955774" providerId="AD" clId="Web-{26FF4796-6832-844C-247B-1626BA232660}" dt="2023-03-08T23:08:13.627" v="3279" actId="20577"/>
        <pc:sldMkLst>
          <pc:docMk/>
          <pc:sldMk cId="2116282185" sldId="311"/>
        </pc:sldMkLst>
        <pc:spChg chg="del mod">
          <ac:chgData name="Jadhav, Mr. Vicky" userId="S::vj54818n@pace.edu::3922eaf5-9e27-41b1-b805-d385d1955774" providerId="AD" clId="Web-{26FF4796-6832-844C-247B-1626BA232660}" dt="2023-03-08T18:19:38.737" v="118"/>
          <ac:spMkLst>
            <pc:docMk/>
            <pc:sldMk cId="2116282185" sldId="311"/>
            <ac:spMk id="2" creationId="{D9A1E356-2A1D-DBA5-9AF2-AEDC00F1E2D6}"/>
          </ac:spMkLst>
        </pc:spChg>
        <pc:spChg chg="add mod">
          <ac:chgData name="Jadhav, Mr. Vicky" userId="S::vj54818n@pace.edu::3922eaf5-9e27-41b1-b805-d385d1955774" providerId="AD" clId="Web-{26FF4796-6832-844C-247B-1626BA232660}" dt="2023-03-08T23:05:12.482" v="3249" actId="14100"/>
          <ac:spMkLst>
            <pc:docMk/>
            <pc:sldMk cId="2116282185" sldId="311"/>
            <ac:spMk id="2" creationId="{F1AD635E-45E3-FC96-7914-30E0A7A12E93}"/>
          </ac:spMkLst>
        </pc:spChg>
        <pc:spChg chg="add mod">
          <ac:chgData name="Jadhav, Mr. Vicky" userId="S::vj54818n@pace.edu::3922eaf5-9e27-41b1-b805-d385d1955774" providerId="AD" clId="Web-{26FF4796-6832-844C-247B-1626BA232660}" dt="2023-03-08T23:07:58.955" v="3278" actId="20577"/>
          <ac:spMkLst>
            <pc:docMk/>
            <pc:sldMk cId="2116282185" sldId="311"/>
            <ac:spMk id="4" creationId="{0508A350-7FE5-FBCA-7B17-3DA75361813C}"/>
          </ac:spMkLst>
        </pc:spChg>
        <pc:spChg chg="add mod">
          <ac:chgData name="Jadhav, Mr. Vicky" userId="S::vj54818n@pace.edu::3922eaf5-9e27-41b1-b805-d385d1955774" providerId="AD" clId="Web-{26FF4796-6832-844C-247B-1626BA232660}" dt="2023-03-08T23:05:25.232" v="3251" actId="14100"/>
          <ac:spMkLst>
            <pc:docMk/>
            <pc:sldMk cId="2116282185" sldId="311"/>
            <ac:spMk id="5" creationId="{D6199ACB-BCF1-E557-C6DB-1D96CF9E0384}"/>
          </ac:spMkLst>
        </pc:spChg>
        <pc:spChg chg="add mod">
          <ac:chgData name="Jadhav, Mr. Vicky" userId="S::vj54818n@pace.edu::3922eaf5-9e27-41b1-b805-d385d1955774" providerId="AD" clId="Web-{26FF4796-6832-844C-247B-1626BA232660}" dt="2023-03-08T18:18:25.328" v="111" actId="1076"/>
          <ac:spMkLst>
            <pc:docMk/>
            <pc:sldMk cId="2116282185" sldId="311"/>
            <ac:spMk id="11" creationId="{1087F95E-ACB5-7C03-1F77-EA69699EC2E6}"/>
          </ac:spMkLst>
        </pc:spChg>
        <pc:spChg chg="add mod">
          <ac:chgData name="Jadhav, Mr. Vicky" userId="S::vj54818n@pace.edu::3922eaf5-9e27-41b1-b805-d385d1955774" providerId="AD" clId="Web-{26FF4796-6832-844C-247B-1626BA232660}" dt="2023-03-08T23:08:13.627" v="3279" actId="20577"/>
          <ac:spMkLst>
            <pc:docMk/>
            <pc:sldMk cId="2116282185" sldId="311"/>
            <ac:spMk id="13" creationId="{A4FA90BE-78A7-720D-6B5B-189500F63584}"/>
          </ac:spMkLst>
        </pc:spChg>
        <pc:picChg chg="add mod">
          <ac:chgData name="Jadhav, Mr. Vicky" userId="S::vj54818n@pace.edu::3922eaf5-9e27-41b1-b805-d385d1955774" providerId="AD" clId="Web-{26FF4796-6832-844C-247B-1626BA232660}" dt="2023-03-08T19:04:08.635" v="427" actId="1076"/>
          <ac:picMkLst>
            <pc:docMk/>
            <pc:sldMk cId="2116282185" sldId="311"/>
            <ac:picMk id="3" creationId="{CEE34CC0-40E3-F1E8-10D9-AB176CC34220}"/>
          </ac:picMkLst>
        </pc:picChg>
        <pc:picChg chg="add del mod">
          <ac:chgData name="Jadhav, Mr. Vicky" userId="S::vj54818n@pace.edu::3922eaf5-9e27-41b1-b805-d385d1955774" providerId="AD" clId="Web-{26FF4796-6832-844C-247B-1626BA232660}" dt="2023-03-08T18:06:49.810" v="25"/>
          <ac:picMkLst>
            <pc:docMk/>
            <pc:sldMk cId="2116282185" sldId="311"/>
            <ac:picMk id="7" creationId="{9B7248CE-F842-0A17-3E30-19BF999E7182}"/>
          </ac:picMkLst>
        </pc:picChg>
        <pc:picChg chg="add mod">
          <ac:chgData name="Jadhav, Mr. Vicky" userId="S::vj54818n@pace.edu::3922eaf5-9e27-41b1-b805-d385d1955774" providerId="AD" clId="Web-{26FF4796-6832-844C-247B-1626BA232660}" dt="2023-03-08T18:14:06.618" v="77" actId="1076"/>
          <ac:picMkLst>
            <pc:docMk/>
            <pc:sldMk cId="2116282185" sldId="311"/>
            <ac:picMk id="9" creationId="{4C518AEA-52C1-7712-888C-16AF085303D6}"/>
          </ac:picMkLst>
        </pc:picChg>
        <pc:picChg chg="del">
          <ac:chgData name="Jadhav, Mr. Vicky" userId="S::vj54818n@pace.edu::3922eaf5-9e27-41b1-b805-d385d1955774" providerId="AD" clId="Web-{26FF4796-6832-844C-247B-1626BA232660}" dt="2023-03-08T18:04:13.040" v="6"/>
          <ac:picMkLst>
            <pc:docMk/>
            <pc:sldMk cId="2116282185" sldId="311"/>
            <ac:picMk id="10" creationId="{64FA8338-490D-6C26-4FFE-998BA89D3344}"/>
          </ac:picMkLst>
        </pc:picChg>
      </pc:sldChg>
      <pc:sldChg chg="addSp delSp modSp mod setBg">
        <pc:chgData name="Jadhav, Mr. Vicky" userId="S::vj54818n@pace.edu::3922eaf5-9e27-41b1-b805-d385d1955774" providerId="AD" clId="Web-{26FF4796-6832-844C-247B-1626BA232660}" dt="2023-03-09T00:00:47.849" v="3289" actId="1076"/>
        <pc:sldMkLst>
          <pc:docMk/>
          <pc:sldMk cId="324190258" sldId="312"/>
        </pc:sldMkLst>
        <pc:spChg chg="mod">
          <ac:chgData name="Jadhav, Mr. Vicky" userId="S::vj54818n@pace.edu::3922eaf5-9e27-41b1-b805-d385d1955774" providerId="AD" clId="Web-{26FF4796-6832-844C-247B-1626BA232660}" dt="2023-03-08T23:09:20.426" v="3286" actId="1076"/>
          <ac:spMkLst>
            <pc:docMk/>
            <pc:sldMk cId="324190258" sldId="312"/>
            <ac:spMk id="2" creationId="{BA4D2D45-49FF-BDC2-BCC6-12AA567CCB42}"/>
          </ac:spMkLst>
        </pc:spChg>
        <pc:spChg chg="add mod">
          <ac:chgData name="Jadhav, Mr. Vicky" userId="S::vj54818n@pace.edu::3922eaf5-9e27-41b1-b805-d385d1955774" providerId="AD" clId="Web-{26FF4796-6832-844C-247B-1626BA232660}" dt="2023-03-08T23:09:27.254" v="3287" actId="1076"/>
          <ac:spMkLst>
            <pc:docMk/>
            <pc:sldMk cId="324190258" sldId="312"/>
            <ac:spMk id="3" creationId="{66D8A177-D66B-A467-BDDE-CB7063BE0009}"/>
          </ac:spMkLst>
        </pc:spChg>
        <pc:spChg chg="add mod">
          <ac:chgData name="Jadhav, Mr. Vicky" userId="S::vj54818n@pace.edu::3922eaf5-9e27-41b1-b805-d385d1955774" providerId="AD" clId="Web-{26FF4796-6832-844C-247B-1626BA232660}" dt="2023-03-08T22:07:38.313" v="3170" actId="20577"/>
          <ac:spMkLst>
            <pc:docMk/>
            <pc:sldMk cId="324190258" sldId="312"/>
            <ac:spMk id="4" creationId="{AC56A64C-9613-BBCD-CC32-301E225A9717}"/>
          </ac:spMkLst>
        </pc:spChg>
        <pc:spChg chg="add mod">
          <ac:chgData name="Jadhav, Mr. Vicky" userId="S::vj54818n@pace.edu::3922eaf5-9e27-41b1-b805-d385d1955774" providerId="AD" clId="Web-{26FF4796-6832-844C-247B-1626BA232660}" dt="2023-03-08T18:17:04.920" v="104" actId="1076"/>
          <ac:spMkLst>
            <pc:docMk/>
            <pc:sldMk cId="324190258" sldId="312"/>
            <ac:spMk id="7" creationId="{8212B6D0-B685-395F-86B6-97CFAE31567A}"/>
          </ac:spMkLst>
        </pc:spChg>
        <pc:spChg chg="add mod">
          <ac:chgData name="Jadhav, Mr. Vicky" userId="S::vj54818n@pace.edu::3922eaf5-9e27-41b1-b805-d385d1955774" providerId="AD" clId="Web-{26FF4796-6832-844C-247B-1626BA232660}" dt="2023-03-08T22:07:44.798" v="3171" actId="1076"/>
          <ac:spMkLst>
            <pc:docMk/>
            <pc:sldMk cId="324190258" sldId="312"/>
            <ac:spMk id="10" creationId="{8DDC05D7-9F76-DCE7-8334-A26975AE128E}"/>
          </ac:spMkLst>
        </pc:spChg>
        <pc:spChg chg="add del mod">
          <ac:chgData name="Jadhav, Mr. Vicky" userId="S::vj54818n@pace.edu::3922eaf5-9e27-41b1-b805-d385d1955774" providerId="AD" clId="Web-{26FF4796-6832-844C-247B-1626BA232660}" dt="2023-03-08T18:43:46.384" v="350"/>
          <ac:spMkLst>
            <pc:docMk/>
            <pc:sldMk cId="324190258" sldId="312"/>
            <ac:spMk id="12" creationId="{620BB23D-D720-3475-2CD2-EB086D3B7EFF}"/>
          </ac:spMkLst>
        </pc:spChg>
        <pc:picChg chg="add del mod">
          <ac:chgData name="Jadhav, Mr. Vicky" userId="S::vj54818n@pace.edu::3922eaf5-9e27-41b1-b805-d385d1955774" providerId="AD" clId="Web-{26FF4796-6832-844C-247B-1626BA232660}" dt="2023-03-08T18:06:46.716" v="24"/>
          <ac:picMkLst>
            <pc:docMk/>
            <pc:sldMk cId="324190258" sldId="312"/>
            <ac:picMk id="4" creationId="{C9B8A44F-6C98-3CE3-57BB-B17818D817AE}"/>
          </ac:picMkLst>
        </pc:picChg>
        <pc:picChg chg="add mod ord">
          <ac:chgData name="Jadhav, Mr. Vicky" userId="S::vj54818n@pace.edu::3922eaf5-9e27-41b1-b805-d385d1955774" providerId="AD" clId="Web-{26FF4796-6832-844C-247B-1626BA232660}" dt="2023-03-08T18:44:18.432" v="363"/>
          <ac:picMkLst>
            <pc:docMk/>
            <pc:sldMk cId="324190258" sldId="312"/>
            <ac:picMk id="6" creationId="{064819D3-586F-AB1F-072A-0636F3FCE80F}"/>
          </ac:picMkLst>
        </pc:picChg>
        <pc:picChg chg="add mod">
          <ac:chgData name="Jadhav, Mr. Vicky" userId="S::vj54818n@pace.edu::3922eaf5-9e27-41b1-b805-d385d1955774" providerId="AD" clId="Web-{26FF4796-6832-844C-247B-1626BA232660}" dt="2023-03-09T00:00:47.849" v="3289" actId="1076"/>
          <ac:picMkLst>
            <pc:docMk/>
            <pc:sldMk cId="324190258" sldId="312"/>
            <ac:picMk id="9" creationId="{88DEE13F-979E-53D7-6003-139152AB545A}"/>
          </ac:picMkLst>
        </pc:picChg>
        <pc:picChg chg="del mod">
          <ac:chgData name="Jadhav, Mr. Vicky" userId="S::vj54818n@pace.edu::3922eaf5-9e27-41b1-b805-d385d1955774" providerId="AD" clId="Web-{26FF4796-6832-844C-247B-1626BA232660}" dt="2023-03-08T18:43:37.165" v="349"/>
          <ac:picMkLst>
            <pc:docMk/>
            <pc:sldMk cId="324190258" sldId="312"/>
            <ac:picMk id="10" creationId="{45404B9D-D668-66DA-BD01-84144F18B37B}"/>
          </ac:picMkLst>
        </pc:picChg>
      </pc:sldChg>
      <pc:sldChg chg="addSp delSp modSp mod setBg">
        <pc:chgData name="Jadhav, Mr. Vicky" userId="S::vj54818n@pace.edu::3922eaf5-9e27-41b1-b805-d385d1955774" providerId="AD" clId="Web-{26FF4796-6832-844C-247B-1626BA232660}" dt="2023-03-08T23:07:40.814" v="3277" actId="20577"/>
        <pc:sldMkLst>
          <pc:docMk/>
          <pc:sldMk cId="4252067334" sldId="313"/>
        </pc:sldMkLst>
        <pc:spChg chg="mod">
          <ac:chgData name="Jadhav, Mr. Vicky" userId="S::vj54818n@pace.edu::3922eaf5-9e27-41b1-b805-d385d1955774" providerId="AD" clId="Web-{26FF4796-6832-844C-247B-1626BA232660}" dt="2023-03-08T23:07:16.829" v="3271" actId="1076"/>
          <ac:spMkLst>
            <pc:docMk/>
            <pc:sldMk cId="4252067334" sldId="313"/>
            <ac:spMk id="2" creationId="{DE45C66C-5498-A014-4D48-653568210CB4}"/>
          </ac:spMkLst>
        </pc:spChg>
        <pc:spChg chg="add mod">
          <ac:chgData name="Jadhav, Mr. Vicky" userId="S::vj54818n@pace.edu::3922eaf5-9e27-41b1-b805-d385d1955774" providerId="AD" clId="Web-{26FF4796-6832-844C-247B-1626BA232660}" dt="2023-03-08T23:07:40.814" v="3277" actId="20577"/>
          <ac:spMkLst>
            <pc:docMk/>
            <pc:sldMk cId="4252067334" sldId="313"/>
            <ac:spMk id="3" creationId="{803B48BF-BC4C-144D-395F-E4374C358E70}"/>
          </ac:spMkLst>
        </pc:spChg>
        <pc:spChg chg="add mod">
          <ac:chgData name="Jadhav, Mr. Vicky" userId="S::vj54818n@pace.edu::3922eaf5-9e27-41b1-b805-d385d1955774" providerId="AD" clId="Web-{26FF4796-6832-844C-247B-1626BA232660}" dt="2023-03-08T18:17:13.123" v="107" actId="1076"/>
          <ac:spMkLst>
            <pc:docMk/>
            <pc:sldMk cId="4252067334" sldId="313"/>
            <ac:spMk id="5" creationId="{7E01EC80-0696-BAEA-D51C-D70FF05778F7}"/>
          </ac:spMkLst>
        </pc:spChg>
        <pc:spChg chg="add mod">
          <ac:chgData name="Jadhav, Mr. Vicky" userId="S::vj54818n@pace.edu::3922eaf5-9e27-41b1-b805-d385d1955774" providerId="AD" clId="Web-{26FF4796-6832-844C-247B-1626BA232660}" dt="2023-03-08T23:07:22.032" v="3272" actId="1076"/>
          <ac:spMkLst>
            <pc:docMk/>
            <pc:sldMk cId="4252067334" sldId="313"/>
            <ac:spMk id="7" creationId="{7A5CA019-6467-79D3-DCE9-45E8B00F2AF5}"/>
          </ac:spMkLst>
        </pc:spChg>
        <pc:spChg chg="add del mod">
          <ac:chgData name="Jadhav, Mr. Vicky" userId="S::vj54818n@pace.edu::3922eaf5-9e27-41b1-b805-d385d1955774" providerId="AD" clId="Web-{26FF4796-6832-844C-247B-1626BA232660}" dt="2023-03-08T18:46:32.623" v="368"/>
          <ac:spMkLst>
            <pc:docMk/>
            <pc:sldMk cId="4252067334" sldId="313"/>
            <ac:spMk id="8" creationId="{D20DCB6B-62B6-B0AC-0E39-5BA68636A38D}"/>
          </ac:spMkLst>
        </pc:spChg>
        <pc:picChg chg="add mod ord">
          <ac:chgData name="Jadhav, Mr. Vicky" userId="S::vj54818n@pace.edu::3922eaf5-9e27-41b1-b805-d385d1955774" providerId="AD" clId="Web-{26FF4796-6832-844C-247B-1626BA232660}" dt="2023-03-08T20:50:20.223" v="1454" actId="1076"/>
          <ac:picMkLst>
            <pc:docMk/>
            <pc:sldMk cId="4252067334" sldId="313"/>
            <ac:picMk id="4" creationId="{F1785A95-8869-685F-D32E-A29B3FE8D9CF}"/>
          </ac:picMkLst>
        </pc:picChg>
        <pc:picChg chg="add mod">
          <ac:chgData name="Jadhav, Mr. Vicky" userId="S::vj54818n@pace.edu::3922eaf5-9e27-41b1-b805-d385d1955774" providerId="AD" clId="Web-{26FF4796-6832-844C-247B-1626BA232660}" dt="2023-03-08T23:07:28.079" v="3274" actId="1076"/>
          <ac:picMkLst>
            <pc:docMk/>
            <pc:sldMk cId="4252067334" sldId="313"/>
            <ac:picMk id="6" creationId="{CA31F6FB-E51B-E4CB-1AC5-CC140583C68B}"/>
          </ac:picMkLst>
        </pc:picChg>
        <pc:picChg chg="del mod">
          <ac:chgData name="Jadhav, Mr. Vicky" userId="S::vj54818n@pace.edu::3922eaf5-9e27-41b1-b805-d385d1955774" providerId="AD" clId="Web-{26FF4796-6832-844C-247B-1626BA232660}" dt="2023-03-08T18:46:29.732" v="367"/>
          <ac:picMkLst>
            <pc:docMk/>
            <pc:sldMk cId="4252067334" sldId="313"/>
            <ac:picMk id="10" creationId="{D51D8908-2C12-6055-4142-332119A34C02}"/>
          </ac:picMkLst>
        </pc:picChg>
      </pc:sldChg>
      <pc:sldChg chg="addSp delSp modSp mod setBg">
        <pc:chgData name="Jadhav, Mr. Vicky" userId="S::vj54818n@pace.edu::3922eaf5-9e27-41b1-b805-d385d1955774" providerId="AD" clId="Web-{26FF4796-6832-844C-247B-1626BA232660}" dt="2023-03-08T23:07:05.344" v="3269" actId="1076"/>
        <pc:sldMkLst>
          <pc:docMk/>
          <pc:sldMk cId="3335402709" sldId="315"/>
        </pc:sldMkLst>
        <pc:spChg chg="add del mod">
          <ac:chgData name="Jadhav, Mr. Vicky" userId="S::vj54818n@pace.edu::3922eaf5-9e27-41b1-b805-d385d1955774" providerId="AD" clId="Web-{26FF4796-6832-844C-247B-1626BA232660}" dt="2023-03-08T23:07:05.344" v="3269" actId="1076"/>
          <ac:spMkLst>
            <pc:docMk/>
            <pc:sldMk cId="3335402709" sldId="315"/>
            <ac:spMk id="2" creationId="{B610D19B-8F67-C848-4B2B-87489CAF773E}"/>
          </ac:spMkLst>
        </pc:spChg>
        <pc:spChg chg="add mod">
          <ac:chgData name="Jadhav, Mr. Vicky" userId="S::vj54818n@pace.edu::3922eaf5-9e27-41b1-b805-d385d1955774" providerId="AD" clId="Web-{26FF4796-6832-844C-247B-1626BA232660}" dt="2023-03-08T22:05:05.575" v="3147" actId="20577"/>
          <ac:spMkLst>
            <pc:docMk/>
            <pc:sldMk cId="3335402709" sldId="315"/>
            <ac:spMk id="3" creationId="{5930F9A4-1A9A-E0EF-2FA7-0DA8B79E2659}"/>
          </ac:spMkLst>
        </pc:spChg>
        <pc:spChg chg="add mod">
          <ac:chgData name="Jadhav, Mr. Vicky" userId="S::vj54818n@pace.edu::3922eaf5-9e27-41b1-b805-d385d1955774" providerId="AD" clId="Web-{26FF4796-6832-844C-247B-1626BA232660}" dt="2023-03-08T18:17:22.030" v="110" actId="1076"/>
          <ac:spMkLst>
            <pc:docMk/>
            <pc:sldMk cId="3335402709" sldId="315"/>
            <ac:spMk id="6" creationId="{85C91EE9-99B2-4357-7155-EC2F24D77E4D}"/>
          </ac:spMkLst>
        </pc:spChg>
        <pc:spChg chg="add del mod">
          <ac:chgData name="Jadhav, Mr. Vicky" userId="S::vj54818n@pace.edu::3922eaf5-9e27-41b1-b805-d385d1955774" providerId="AD" clId="Web-{26FF4796-6832-844C-247B-1626BA232660}" dt="2023-03-08T18:23:13.820" v="162"/>
          <ac:spMkLst>
            <pc:docMk/>
            <pc:sldMk cId="3335402709" sldId="315"/>
            <ac:spMk id="8" creationId="{626AC0B4-398B-0C43-6919-94A9C9ADE917}"/>
          </ac:spMkLst>
        </pc:spChg>
        <pc:spChg chg="add mod">
          <ac:chgData name="Jadhav, Mr. Vicky" userId="S::vj54818n@pace.edu::3922eaf5-9e27-41b1-b805-d385d1955774" providerId="AD" clId="Web-{26FF4796-6832-844C-247B-1626BA232660}" dt="2023-03-08T23:06:54.578" v="3267" actId="1076"/>
          <ac:spMkLst>
            <pc:docMk/>
            <pc:sldMk cId="3335402709" sldId="315"/>
            <ac:spMk id="8" creationId="{AC9C9787-D060-88EA-AFEC-15E0CECA801C}"/>
          </ac:spMkLst>
        </pc:spChg>
        <pc:picChg chg="mod">
          <ac:chgData name="Jadhav, Mr. Vicky" userId="S::vj54818n@pace.edu::3922eaf5-9e27-41b1-b805-d385d1955774" providerId="AD" clId="Web-{26FF4796-6832-844C-247B-1626BA232660}" dt="2023-03-08T18:21:21.505" v="125" actId="14100"/>
          <ac:picMkLst>
            <pc:docMk/>
            <pc:sldMk cId="3335402709" sldId="315"/>
            <ac:picMk id="4" creationId="{C35459A0-30F2-913C-55F2-FA8DEFD5F607}"/>
          </ac:picMkLst>
        </pc:picChg>
        <pc:picChg chg="add mod">
          <ac:chgData name="Jadhav, Mr. Vicky" userId="S::vj54818n@pace.edu::3922eaf5-9e27-41b1-b805-d385d1955774" providerId="AD" clId="Web-{26FF4796-6832-844C-247B-1626BA232660}" dt="2023-03-08T21:13:09.181" v="1954" actId="1076"/>
          <ac:picMkLst>
            <pc:docMk/>
            <pc:sldMk cId="3335402709" sldId="315"/>
            <ac:picMk id="5" creationId="{EB4FC661-139D-BFE9-A5EF-7E900B816A2D}"/>
          </ac:picMkLst>
        </pc:picChg>
      </pc:sldChg>
      <pc:sldChg chg="modSp">
        <pc:chgData name="Jadhav, Mr. Vicky" userId="S::vj54818n@pace.edu::3922eaf5-9e27-41b1-b805-d385d1955774" providerId="AD" clId="Web-{26FF4796-6832-844C-247B-1626BA232660}" dt="2023-03-08T22:15:49.436" v="3172" actId="1076"/>
        <pc:sldMkLst>
          <pc:docMk/>
          <pc:sldMk cId="211011801" sldId="326"/>
        </pc:sldMkLst>
        <pc:picChg chg="mod">
          <ac:chgData name="Jadhav, Mr. Vicky" userId="S::vj54818n@pace.edu::3922eaf5-9e27-41b1-b805-d385d1955774" providerId="AD" clId="Web-{26FF4796-6832-844C-247B-1626BA232660}" dt="2023-03-08T22:15:49.436" v="3172" actId="1076"/>
          <ac:picMkLst>
            <pc:docMk/>
            <pc:sldMk cId="211011801" sldId="326"/>
            <ac:picMk id="10" creationId="{BE6FC2D1-B835-1CF2-2810-8CC7B8A12747}"/>
          </ac:picMkLst>
        </pc:picChg>
      </pc:sldChg>
      <pc:sldChg chg="del">
        <pc:chgData name="Jadhav, Mr. Vicky" userId="S::vj54818n@pace.edu::3922eaf5-9e27-41b1-b805-d385d1955774" providerId="AD" clId="Web-{26FF4796-6832-844C-247B-1626BA232660}" dt="2023-03-08T22:41:08.850" v="3245"/>
        <pc:sldMkLst>
          <pc:docMk/>
          <pc:sldMk cId="781056215" sldId="330"/>
        </pc:sldMkLst>
      </pc:sldChg>
      <pc:sldChg chg="addSp delSp modSp new mod setBg">
        <pc:chgData name="Jadhav, Mr. Vicky" userId="S::vj54818n@pace.edu::3922eaf5-9e27-41b1-b805-d385d1955774" providerId="AD" clId="Web-{26FF4796-6832-844C-247B-1626BA232660}" dt="2023-03-08T23:08:50.691" v="3283" actId="20577"/>
        <pc:sldMkLst>
          <pc:docMk/>
          <pc:sldMk cId="2165170525" sldId="332"/>
        </pc:sldMkLst>
        <pc:spChg chg="mod">
          <ac:chgData name="Jadhav, Mr. Vicky" userId="S::vj54818n@pace.edu::3922eaf5-9e27-41b1-b805-d385d1955774" providerId="AD" clId="Web-{26FF4796-6832-844C-247B-1626BA232660}" dt="2023-03-08T21:41:58.320" v="2015" actId="1076"/>
          <ac:spMkLst>
            <pc:docMk/>
            <pc:sldMk cId="2165170525" sldId="332"/>
            <ac:spMk id="2" creationId="{95217157-7543-6264-2482-0925C9A49FD7}"/>
          </ac:spMkLst>
        </pc:spChg>
        <pc:spChg chg="del">
          <ac:chgData name="Jadhav, Mr. Vicky" userId="S::vj54818n@pace.edu::3922eaf5-9e27-41b1-b805-d385d1955774" providerId="AD" clId="Web-{26FF4796-6832-844C-247B-1626BA232660}" dt="2023-03-08T21:40:03.832" v="1956"/>
          <ac:spMkLst>
            <pc:docMk/>
            <pc:sldMk cId="2165170525" sldId="332"/>
            <ac:spMk id="3" creationId="{C03346EF-3909-D173-1EE4-3DAA61BA5566}"/>
          </ac:spMkLst>
        </pc:spChg>
        <pc:spChg chg="mod">
          <ac:chgData name="Jadhav, Mr. Vicky" userId="S::vj54818n@pace.edu::3922eaf5-9e27-41b1-b805-d385d1955774" providerId="AD" clId="Web-{26FF4796-6832-844C-247B-1626BA232660}" dt="2023-03-08T21:40:58.818" v="1963"/>
          <ac:spMkLst>
            <pc:docMk/>
            <pc:sldMk cId="2165170525" sldId="332"/>
            <ac:spMk id="4" creationId="{CB27919F-A623-6C7C-FBFF-7BF1D2ED8EFC}"/>
          </ac:spMkLst>
        </pc:spChg>
        <pc:spChg chg="add mod">
          <ac:chgData name="Jadhav, Mr. Vicky" userId="S::vj54818n@pace.edu::3922eaf5-9e27-41b1-b805-d385d1955774" providerId="AD" clId="Web-{26FF4796-6832-844C-247B-1626BA232660}" dt="2023-03-08T23:08:36.175" v="3280" actId="1076"/>
          <ac:spMkLst>
            <pc:docMk/>
            <pc:sldMk cId="2165170525" sldId="332"/>
            <ac:spMk id="6" creationId="{2E6B8ABE-303B-09D6-ADC1-1F4B3B808144}"/>
          </ac:spMkLst>
        </pc:spChg>
        <pc:spChg chg="add mod">
          <ac:chgData name="Jadhav, Mr. Vicky" userId="S::vj54818n@pace.edu::3922eaf5-9e27-41b1-b805-d385d1955774" providerId="AD" clId="Web-{26FF4796-6832-844C-247B-1626BA232660}" dt="2023-03-08T21:48:14.783" v="2271" actId="20577"/>
          <ac:spMkLst>
            <pc:docMk/>
            <pc:sldMk cId="2165170525" sldId="332"/>
            <ac:spMk id="7" creationId="{F8C6C7CE-1224-22D1-6EA1-E0DFE995F641}"/>
          </ac:spMkLst>
        </pc:spChg>
        <pc:spChg chg="add mod">
          <ac:chgData name="Jadhav, Mr. Vicky" userId="S::vj54818n@pace.edu::3922eaf5-9e27-41b1-b805-d385d1955774" providerId="AD" clId="Web-{26FF4796-6832-844C-247B-1626BA232660}" dt="2023-03-08T21:49:31.582" v="2280" actId="20577"/>
          <ac:spMkLst>
            <pc:docMk/>
            <pc:sldMk cId="2165170525" sldId="332"/>
            <ac:spMk id="8" creationId="{FA1CB642-B835-02F2-F9F8-F1D53DDA23B6}"/>
          </ac:spMkLst>
        </pc:spChg>
        <pc:spChg chg="add del mod">
          <ac:chgData name="Jadhav, Mr. Vicky" userId="S::vj54818n@pace.edu::3922eaf5-9e27-41b1-b805-d385d1955774" providerId="AD" clId="Web-{26FF4796-6832-844C-247B-1626BA232660}" dt="2023-03-08T21:42:14.148" v="2017"/>
          <ac:spMkLst>
            <pc:docMk/>
            <pc:sldMk cId="2165170525" sldId="332"/>
            <ac:spMk id="9" creationId="{23CA7CC5-F43D-57B7-FAE5-795A927360E1}"/>
          </ac:spMkLst>
        </pc:spChg>
        <pc:spChg chg="add mod">
          <ac:chgData name="Jadhav, Mr. Vicky" userId="S::vj54818n@pace.edu::3922eaf5-9e27-41b1-b805-d385d1955774" providerId="AD" clId="Web-{26FF4796-6832-844C-247B-1626BA232660}" dt="2023-03-08T23:08:50.691" v="3283" actId="20577"/>
          <ac:spMkLst>
            <pc:docMk/>
            <pc:sldMk cId="2165170525" sldId="332"/>
            <ac:spMk id="10" creationId="{1E8896A4-6131-7EE6-7FA0-1C8FAA6738CA}"/>
          </ac:spMkLst>
        </pc:spChg>
        <pc:spChg chg="add">
          <ac:chgData name="Jadhav, Mr. Vicky" userId="S::vj54818n@pace.edu::3922eaf5-9e27-41b1-b805-d385d1955774" providerId="AD" clId="Web-{26FF4796-6832-844C-247B-1626BA232660}" dt="2023-03-08T21:40:58.818" v="1963"/>
          <ac:spMkLst>
            <pc:docMk/>
            <pc:sldMk cId="2165170525" sldId="332"/>
            <ac:spMk id="12" creationId="{201CC55D-ED54-4C5C-95E6-10947BD1103B}"/>
          </ac:spMkLst>
        </pc:spChg>
        <pc:spChg chg="add">
          <ac:chgData name="Jadhav, Mr. Vicky" userId="S::vj54818n@pace.edu::3922eaf5-9e27-41b1-b805-d385d1955774" providerId="AD" clId="Web-{26FF4796-6832-844C-247B-1626BA232660}" dt="2023-03-08T21:40:58.818" v="1963"/>
          <ac:spMkLst>
            <pc:docMk/>
            <pc:sldMk cId="2165170525" sldId="332"/>
            <ac:spMk id="18" creationId="{3873B707-463F-40B0-8227-E8CC6C67EB25}"/>
          </ac:spMkLst>
        </pc:spChg>
        <pc:spChg chg="add">
          <ac:chgData name="Jadhav, Mr. Vicky" userId="S::vj54818n@pace.edu::3922eaf5-9e27-41b1-b805-d385d1955774" providerId="AD" clId="Web-{26FF4796-6832-844C-247B-1626BA232660}" dt="2023-03-08T21:40:58.818" v="1963"/>
          <ac:spMkLst>
            <pc:docMk/>
            <pc:sldMk cId="2165170525" sldId="332"/>
            <ac:spMk id="20" creationId="{C13237C8-E62C-4F0D-A318-BD6FB6C2D138}"/>
          </ac:spMkLst>
        </pc:spChg>
        <pc:spChg chg="add">
          <ac:chgData name="Jadhav, Mr. Vicky" userId="S::vj54818n@pace.edu::3922eaf5-9e27-41b1-b805-d385d1955774" providerId="AD" clId="Web-{26FF4796-6832-844C-247B-1626BA232660}" dt="2023-03-08T21:40:58.818" v="1963"/>
          <ac:spMkLst>
            <pc:docMk/>
            <pc:sldMk cId="2165170525" sldId="332"/>
            <ac:spMk id="22" creationId="{19C9EAEA-39D0-4B0E-A0EB-51E7B26740B1}"/>
          </ac:spMkLst>
        </pc:spChg>
        <pc:grpChg chg="add">
          <ac:chgData name="Jadhav, Mr. Vicky" userId="S::vj54818n@pace.edu::3922eaf5-9e27-41b1-b805-d385d1955774" providerId="AD" clId="Web-{26FF4796-6832-844C-247B-1626BA232660}" dt="2023-03-08T21:40:58.818" v="1963"/>
          <ac:grpSpMkLst>
            <pc:docMk/>
            <pc:sldMk cId="2165170525" sldId="332"/>
            <ac:grpSpMk id="14" creationId="{1DE889C7-FAD6-4397-98E2-05D503484459}"/>
          </ac:grpSpMkLst>
        </pc:grpChg>
        <pc:picChg chg="add mod ord">
          <ac:chgData name="Jadhav, Mr. Vicky" userId="S::vj54818n@pace.edu::3922eaf5-9e27-41b1-b805-d385d1955774" providerId="AD" clId="Web-{26FF4796-6832-844C-247B-1626BA232660}" dt="2023-03-08T21:41:05.225" v="1964" actId="1076"/>
          <ac:picMkLst>
            <pc:docMk/>
            <pc:sldMk cId="2165170525" sldId="332"/>
            <ac:picMk id="5" creationId="{B34D30DF-B91D-6ADB-37A0-F343137A4D49}"/>
          </ac:picMkLst>
        </pc:picChg>
      </pc:sldChg>
    </pc:docChg>
  </pc:docChgLst>
  <pc:docChgLst>
    <pc:chgData name="Jivani, Yash" userId="d3219360-dc34-4c5d-aaa0-47f172547215" providerId="ADAL" clId="{4734F14E-700E-43BE-8802-134898EA49E2}"/>
    <pc:docChg chg="undo redo custSel addSld delSld modSld sldOrd modMainMaster replTag">
      <pc:chgData name="Jivani, Yash" userId="d3219360-dc34-4c5d-aaa0-47f172547215" providerId="ADAL" clId="{4734F14E-700E-43BE-8802-134898EA49E2}" dt="2023-03-09T01:15:10" v="7595"/>
      <pc:docMkLst>
        <pc:docMk/>
      </pc:docMkLst>
      <pc:sldChg chg="addSp delSp modSp mod ord">
        <pc:chgData name="Jivani, Yash" userId="d3219360-dc34-4c5d-aaa0-47f172547215" providerId="ADAL" clId="{4734F14E-700E-43BE-8802-134898EA49E2}" dt="2023-03-08T18:55:56.225" v="6152" actId="1076"/>
        <pc:sldMkLst>
          <pc:docMk/>
          <pc:sldMk cId="3535273071" sldId="259"/>
        </pc:sldMkLst>
        <pc:spChg chg="mod">
          <ac:chgData name="Jivani, Yash" userId="d3219360-dc34-4c5d-aaa0-47f172547215" providerId="ADAL" clId="{4734F14E-700E-43BE-8802-134898EA49E2}" dt="2023-03-08T18:51:24.498" v="6088" actId="948"/>
          <ac:spMkLst>
            <pc:docMk/>
            <pc:sldMk cId="3535273071" sldId="259"/>
            <ac:spMk id="2" creationId="{8C867609-F891-6C90-0A82-C1DAA03E3404}"/>
          </ac:spMkLst>
        </pc:spChg>
        <pc:spChg chg="add del mod modVis">
          <ac:chgData name="Jivani, Yash" userId="d3219360-dc34-4c5d-aaa0-47f172547215" providerId="ADAL" clId="{4734F14E-700E-43BE-8802-134898EA49E2}" dt="2023-03-08T17:22:57.037" v="1089"/>
          <ac:spMkLst>
            <pc:docMk/>
            <pc:sldMk cId="3535273071" sldId="259"/>
            <ac:spMk id="3" creationId="{67D86132-1BB2-C625-D433-1CF9EB314A27}"/>
          </ac:spMkLst>
        </pc:spChg>
        <pc:spChg chg="mod">
          <ac:chgData name="Jivani, Yash" userId="d3219360-dc34-4c5d-aaa0-47f172547215" providerId="ADAL" clId="{4734F14E-700E-43BE-8802-134898EA49E2}" dt="2023-03-08T18:55:56.225" v="6152" actId="1076"/>
          <ac:spMkLst>
            <pc:docMk/>
            <pc:sldMk cId="3535273071" sldId="259"/>
            <ac:spMk id="3" creationId="{AABEDCC7-FC82-86A5-E5C3-BA8C421B3BAB}"/>
          </ac:spMkLst>
        </pc:spChg>
        <pc:spChg chg="add del mod">
          <ac:chgData name="Jivani, Yash" userId="d3219360-dc34-4c5d-aaa0-47f172547215" providerId="ADAL" clId="{4734F14E-700E-43BE-8802-134898EA49E2}" dt="2023-03-07T19:12:36.826" v="60"/>
          <ac:spMkLst>
            <pc:docMk/>
            <pc:sldMk cId="3535273071" sldId="259"/>
            <ac:spMk id="3" creationId="{B1886B3A-2AD6-E822-65AF-55399EA9C267}"/>
          </ac:spMkLst>
        </pc:spChg>
        <pc:spChg chg="add del mod">
          <ac:chgData name="Jivani, Yash" userId="d3219360-dc34-4c5d-aaa0-47f172547215" providerId="ADAL" clId="{4734F14E-700E-43BE-8802-134898EA49E2}" dt="2023-03-08T18:21:05.864" v="3591"/>
          <ac:spMkLst>
            <pc:docMk/>
            <pc:sldMk cId="3535273071" sldId="259"/>
            <ac:spMk id="4" creationId="{AF6FC2C9-15F9-1628-540A-5046F8521F95}"/>
          </ac:spMkLst>
        </pc:spChg>
        <pc:spChg chg="add del mod modVis">
          <ac:chgData name="Jivani, Yash" userId="d3219360-dc34-4c5d-aaa0-47f172547215" providerId="ADAL" clId="{4734F14E-700E-43BE-8802-134898EA49E2}" dt="2023-03-08T17:22:59.346" v="1134"/>
          <ac:spMkLst>
            <pc:docMk/>
            <pc:sldMk cId="3535273071" sldId="259"/>
            <ac:spMk id="5" creationId="{47971B19-672A-9963-48A1-D74E23FD9112}"/>
          </ac:spMkLst>
        </pc:spChg>
        <pc:spChg chg="add del mod modVis">
          <ac:chgData name="Jivani, Yash" userId="d3219360-dc34-4c5d-aaa0-47f172547215" providerId="ADAL" clId="{4734F14E-700E-43BE-8802-134898EA49E2}" dt="2023-03-08T17:23:00.361" v="1179"/>
          <ac:spMkLst>
            <pc:docMk/>
            <pc:sldMk cId="3535273071" sldId="259"/>
            <ac:spMk id="7" creationId="{BF98E499-67BD-5826-CBD8-69BF029237B5}"/>
          </ac:spMkLst>
        </pc:spChg>
        <pc:spChg chg="del">
          <ac:chgData name="Jivani, Yash" userId="d3219360-dc34-4c5d-aaa0-47f172547215" providerId="ADAL" clId="{4734F14E-700E-43BE-8802-134898EA49E2}" dt="2023-03-08T18:19:30.189" v="3571" actId="478"/>
          <ac:spMkLst>
            <pc:docMk/>
            <pc:sldMk cId="3535273071" sldId="259"/>
            <ac:spMk id="9" creationId="{468DB89E-63A1-96A1-4D88-979360A628A7}"/>
          </ac:spMkLst>
        </pc:spChg>
        <pc:spChg chg="add mod">
          <ac:chgData name="Jivani, Yash" userId="d3219360-dc34-4c5d-aaa0-47f172547215" providerId="ADAL" clId="{4734F14E-700E-43BE-8802-134898EA49E2}" dt="2023-03-08T18:19:30.780" v="3572"/>
          <ac:spMkLst>
            <pc:docMk/>
            <pc:sldMk cId="3535273071" sldId="259"/>
            <ac:spMk id="10" creationId="{DADA537E-C0FD-3573-9F60-5A0B7F5394B7}"/>
          </ac:spMkLst>
        </pc:spChg>
        <pc:spChg chg="add del mod modVis">
          <ac:chgData name="Jivani, Yash" userId="d3219360-dc34-4c5d-aaa0-47f172547215" providerId="ADAL" clId="{4734F14E-700E-43BE-8802-134898EA49E2}" dt="2023-03-08T18:44:27.604" v="4403"/>
          <ac:spMkLst>
            <pc:docMk/>
            <pc:sldMk cId="3535273071" sldId="259"/>
            <ac:spMk id="11" creationId="{35C6BF3F-0DDB-6853-55CE-FAA416CC979A}"/>
          </ac:spMkLst>
        </pc:spChg>
        <pc:spChg chg="add del mod modVis">
          <ac:chgData name="Jivani, Yash" userId="d3219360-dc34-4c5d-aaa0-47f172547215" providerId="ADAL" clId="{4734F14E-700E-43BE-8802-134898EA49E2}" dt="2023-03-08T18:44:28.389" v="4605"/>
          <ac:spMkLst>
            <pc:docMk/>
            <pc:sldMk cId="3535273071" sldId="259"/>
            <ac:spMk id="12" creationId="{DDB11472-C909-6F5A-5860-024350A35F4F}"/>
          </ac:spMkLst>
        </pc:spChg>
        <pc:spChg chg="mod">
          <ac:chgData name="Jivani, Yash" userId="d3219360-dc34-4c5d-aaa0-47f172547215" providerId="ADAL" clId="{4734F14E-700E-43BE-8802-134898EA49E2}" dt="2023-03-08T18:22:18.491" v="3594" actId="20577"/>
          <ac:spMkLst>
            <pc:docMk/>
            <pc:sldMk cId="3535273071" sldId="259"/>
            <ac:spMk id="13" creationId="{28DCC5F9-FCD7-BB91-5D7F-CD5106D76853}"/>
          </ac:spMkLst>
        </pc:spChg>
        <pc:spChg chg="add del mod modVis">
          <ac:chgData name="Jivani, Yash" userId="d3219360-dc34-4c5d-aaa0-47f172547215" providerId="ADAL" clId="{4734F14E-700E-43BE-8802-134898EA49E2}" dt="2023-03-08T18:44:37.742" v="4877"/>
          <ac:spMkLst>
            <pc:docMk/>
            <pc:sldMk cId="3535273071" sldId="259"/>
            <ac:spMk id="14" creationId="{F842E67E-181A-F75D-BAC8-C1113B131E07}"/>
          </ac:spMkLst>
        </pc:spChg>
        <pc:spChg chg="add del mod modVis">
          <ac:chgData name="Jivani, Yash" userId="d3219360-dc34-4c5d-aaa0-47f172547215" providerId="ADAL" clId="{4734F14E-700E-43BE-8802-134898EA49E2}" dt="2023-03-08T18:51:24.546" v="6129"/>
          <ac:spMkLst>
            <pc:docMk/>
            <pc:sldMk cId="3535273071" sldId="259"/>
            <ac:spMk id="15" creationId="{56B83223-689C-4BC0-2FC9-4E87237ABF01}"/>
          </ac:spMkLst>
        </pc:spChg>
        <pc:graphicFrameChg chg="mod">
          <ac:chgData name="Jivani, Yash" userId="d3219360-dc34-4c5d-aaa0-47f172547215" providerId="ADAL" clId="{4734F14E-700E-43BE-8802-134898EA49E2}" dt="2023-03-08T18:51:24.550" v="6131"/>
          <ac:graphicFrameMkLst>
            <pc:docMk/>
            <pc:sldMk cId="3535273071" sldId="259"/>
            <ac:graphicFrameMk id="6" creationId="{74E264FB-C7E0-2BA4-5C0B-D52B2E35A88C}"/>
          </ac:graphicFrameMkLst>
        </pc:graphicFrameChg>
      </pc:sldChg>
      <pc:sldChg chg="addSp delSp modSp mod ord modTransition modShow">
        <pc:chgData name="Jivani, Yash" userId="d3219360-dc34-4c5d-aaa0-47f172547215" providerId="ADAL" clId="{4734F14E-700E-43BE-8802-134898EA49E2}" dt="2023-03-08T15:39:18.861" v="533"/>
        <pc:sldMkLst>
          <pc:docMk/>
          <pc:sldMk cId="790301706" sldId="260"/>
        </pc:sldMkLst>
        <pc:spChg chg="del">
          <ac:chgData name="Jivani, Yash" userId="d3219360-dc34-4c5d-aaa0-47f172547215" providerId="ADAL" clId="{4734F14E-700E-43BE-8802-134898EA49E2}" dt="2023-03-07T03:57:54.352" v="6" actId="478"/>
          <ac:spMkLst>
            <pc:docMk/>
            <pc:sldMk cId="790301706" sldId="260"/>
            <ac:spMk id="2" creationId="{7D7F8D28-CA6C-52FB-8966-28F51FDCBA13}"/>
          </ac:spMkLst>
        </pc:spChg>
        <pc:spChg chg="del">
          <ac:chgData name="Jivani, Yash" userId="d3219360-dc34-4c5d-aaa0-47f172547215" providerId="ADAL" clId="{4734F14E-700E-43BE-8802-134898EA49E2}" dt="2023-03-07T03:57:52.663" v="5" actId="478"/>
          <ac:spMkLst>
            <pc:docMk/>
            <pc:sldMk cId="790301706" sldId="260"/>
            <ac:spMk id="3" creationId="{BD72941D-78D3-A836-C00C-335CB4541904}"/>
          </ac:spMkLst>
        </pc:spChg>
        <pc:graphicFrameChg chg="mod">
          <ac:chgData name="Jivani, Yash" userId="d3219360-dc34-4c5d-aaa0-47f172547215" providerId="ADAL" clId="{4734F14E-700E-43BE-8802-134898EA49E2}" dt="2023-03-07T03:57:54.901" v="10"/>
          <ac:graphicFrameMkLst>
            <pc:docMk/>
            <pc:sldMk cId="790301706" sldId="260"/>
            <ac:graphicFrameMk id="5" creationId="{5EF7A611-A71B-EED3-44A5-3C3C951CCE10}"/>
          </ac:graphicFrameMkLst>
        </pc:graphicFrameChg>
        <pc:picChg chg="add mod">
          <ac:chgData name="Jivani, Yash" userId="d3219360-dc34-4c5d-aaa0-47f172547215" providerId="ADAL" clId="{4734F14E-700E-43BE-8802-134898EA49E2}" dt="2023-03-07T03:57:47.600" v="4" actId="1076"/>
          <ac:picMkLst>
            <pc:docMk/>
            <pc:sldMk cId="790301706" sldId="260"/>
            <ac:picMk id="6" creationId="{8EFAB9A1-F131-E830-BDA8-145CF2DC7462}"/>
          </ac:picMkLst>
        </pc:picChg>
      </pc:sldChg>
      <pc:sldChg chg="addSp modSp mod ord modTransition modShow">
        <pc:chgData name="Jivani, Yash" userId="d3219360-dc34-4c5d-aaa0-47f172547215" providerId="ADAL" clId="{4734F14E-700E-43BE-8802-134898EA49E2}" dt="2023-03-08T15:39:18.861" v="533"/>
        <pc:sldMkLst>
          <pc:docMk/>
          <pc:sldMk cId="2313593964" sldId="262"/>
        </pc:sldMkLst>
        <pc:picChg chg="add">
          <ac:chgData name="Jivani, Yash" userId="d3219360-dc34-4c5d-aaa0-47f172547215" providerId="ADAL" clId="{4734F14E-700E-43BE-8802-134898EA49E2}" dt="2023-03-07T03:59:23.500" v="12"/>
          <ac:picMkLst>
            <pc:docMk/>
            <pc:sldMk cId="2313593964" sldId="262"/>
            <ac:picMk id="6" creationId="{0553742E-6D41-409C-D4B2-43EA066E3B11}"/>
          </ac:picMkLst>
        </pc:picChg>
        <pc:picChg chg="add mod">
          <ac:chgData name="Jivani, Yash" userId="d3219360-dc34-4c5d-aaa0-47f172547215" providerId="ADAL" clId="{4734F14E-700E-43BE-8802-134898EA49E2}" dt="2023-03-07T14:54:28.814" v="23" actId="29295"/>
          <ac:picMkLst>
            <pc:docMk/>
            <pc:sldMk cId="2313593964" sldId="262"/>
            <ac:picMk id="8" creationId="{EE48C450-21DC-9A89-A5B6-3E9264541A7B}"/>
          </ac:picMkLst>
        </pc:picChg>
      </pc:sldChg>
      <pc:sldChg chg="addSp modSp mod">
        <pc:chgData name="Jivani, Yash" userId="d3219360-dc34-4c5d-aaa0-47f172547215" providerId="ADAL" clId="{4734F14E-700E-43BE-8802-134898EA49E2}" dt="2023-03-09T01:15:08.797" v="7594"/>
        <pc:sldMkLst>
          <pc:docMk/>
          <pc:sldMk cId="280990142" sldId="263"/>
        </pc:sldMkLst>
        <pc:spChg chg="mod">
          <ac:chgData name="Jivani, Yash" userId="d3219360-dc34-4c5d-aaa0-47f172547215" providerId="ADAL" clId="{4734F14E-700E-43BE-8802-134898EA49E2}" dt="2023-03-08T21:44:35.145" v="7276" actId="948"/>
          <ac:spMkLst>
            <pc:docMk/>
            <pc:sldMk cId="280990142" sldId="263"/>
            <ac:spMk id="2" creationId="{7D7F8D28-CA6C-52FB-8966-28F51FDCBA13}"/>
          </ac:spMkLst>
        </pc:spChg>
        <pc:spChg chg="mod">
          <ac:chgData name="Jivani, Yash" userId="d3219360-dc34-4c5d-aaa0-47f172547215" providerId="ADAL" clId="{4734F14E-700E-43BE-8802-134898EA49E2}" dt="2023-03-08T21:44:34.640" v="7275"/>
          <ac:spMkLst>
            <pc:docMk/>
            <pc:sldMk cId="280990142" sldId="263"/>
            <ac:spMk id="6" creationId="{1A8020EB-09F7-EDE1-9D07-46B30B0DBA61}"/>
          </ac:spMkLst>
        </pc:spChg>
        <pc:spChg chg="add mod">
          <ac:chgData name="Jivani, Yash" userId="d3219360-dc34-4c5d-aaa0-47f172547215" providerId="ADAL" clId="{4734F14E-700E-43BE-8802-134898EA49E2}" dt="2023-03-09T01:15:08.797" v="7594"/>
          <ac:spMkLst>
            <pc:docMk/>
            <pc:sldMk cId="280990142" sldId="263"/>
            <ac:spMk id="8" creationId="{37F768B1-0378-E339-3ACB-8E460E63636A}"/>
          </ac:spMkLst>
        </pc:spChg>
        <pc:graphicFrameChg chg="mod">
          <ac:chgData name="Jivani, Yash" userId="d3219360-dc34-4c5d-aaa0-47f172547215" providerId="ADAL" clId="{4734F14E-700E-43BE-8802-134898EA49E2}" dt="2023-03-08T21:44:35.185" v="7318"/>
          <ac:graphicFrameMkLst>
            <pc:docMk/>
            <pc:sldMk cId="280990142" sldId="263"/>
            <ac:graphicFrameMk id="5" creationId="{6D976325-CB0D-FADD-1032-043C0355D603}"/>
          </ac:graphicFrameMkLst>
        </pc:graphicFrameChg>
      </pc:sldChg>
      <pc:sldChg chg="addSp modSp">
        <pc:chgData name="Jivani, Yash" userId="d3219360-dc34-4c5d-aaa0-47f172547215" providerId="ADAL" clId="{4734F14E-700E-43BE-8802-134898EA49E2}" dt="2023-03-09T01:15:10" v="7595"/>
        <pc:sldMkLst>
          <pc:docMk/>
          <pc:sldMk cId="2000259412" sldId="264"/>
        </pc:sldMkLst>
        <pc:spChg chg="add mod">
          <ac:chgData name="Jivani, Yash" userId="d3219360-dc34-4c5d-aaa0-47f172547215" providerId="ADAL" clId="{4734F14E-700E-43BE-8802-134898EA49E2}" dt="2023-03-09T01:15:10" v="7595"/>
          <ac:spMkLst>
            <pc:docMk/>
            <pc:sldMk cId="2000259412" sldId="264"/>
            <ac:spMk id="2" creationId="{2851F380-C75D-7C66-6FD8-873D48E30ECB}"/>
          </ac:spMkLst>
        </pc:spChg>
        <pc:spChg chg="mod">
          <ac:chgData name="Jivani, Yash" userId="d3219360-dc34-4c5d-aaa0-47f172547215" providerId="ADAL" clId="{4734F14E-700E-43BE-8802-134898EA49E2}" dt="2023-03-08T21:44:34.640" v="7275"/>
          <ac:spMkLst>
            <pc:docMk/>
            <pc:sldMk cId="2000259412" sldId="264"/>
            <ac:spMk id="4" creationId="{0F9B4628-1938-8DF8-6CC2-DB994D343C29}"/>
          </ac:spMkLst>
        </pc:spChg>
      </pc:sldChg>
      <pc:sldChg chg="addSp delSp modSp mod">
        <pc:chgData name="Jivani, Yash" userId="d3219360-dc34-4c5d-aaa0-47f172547215" providerId="ADAL" clId="{4734F14E-700E-43BE-8802-134898EA49E2}" dt="2023-03-08T17:13:51.554" v="820"/>
        <pc:sldMkLst>
          <pc:docMk/>
          <pc:sldMk cId="3018579934" sldId="266"/>
        </pc:sldMkLst>
        <pc:spChg chg="mod">
          <ac:chgData name="Jivani, Yash" userId="d3219360-dc34-4c5d-aaa0-47f172547215" providerId="ADAL" clId="{4734F14E-700E-43BE-8802-134898EA49E2}" dt="2023-03-08T17:13:51.512" v="777" actId="948"/>
          <ac:spMkLst>
            <pc:docMk/>
            <pc:sldMk cId="3018579934" sldId="266"/>
            <ac:spMk id="2" creationId="{47DD7C64-B7C2-4BF1-8389-3756984C6523}"/>
          </ac:spMkLst>
        </pc:spChg>
        <pc:spChg chg="mod">
          <ac:chgData name="Jivani, Yash" userId="d3219360-dc34-4c5d-aaa0-47f172547215" providerId="ADAL" clId="{4734F14E-700E-43BE-8802-134898EA49E2}" dt="2023-03-08T16:18:52.978" v="630"/>
          <ac:spMkLst>
            <pc:docMk/>
            <pc:sldMk cId="3018579934" sldId="266"/>
            <ac:spMk id="3" creationId="{D5770C48-48FC-4139-D138-4C8D366BDCDA}"/>
          </ac:spMkLst>
        </pc:spChg>
        <pc:spChg chg="add del mod modVis">
          <ac:chgData name="Jivani, Yash" userId="d3219360-dc34-4c5d-aaa0-47f172547215" providerId="ADAL" clId="{4734F14E-700E-43BE-8802-134898EA49E2}" dt="2023-03-08T17:13:51.554" v="818"/>
          <ac:spMkLst>
            <pc:docMk/>
            <pc:sldMk cId="3018579934" sldId="266"/>
            <ac:spMk id="5" creationId="{D67833D4-B09E-D450-B4F7-9358EF6CE386}"/>
          </ac:spMkLst>
        </pc:spChg>
        <pc:graphicFrameChg chg="mod">
          <ac:chgData name="Jivani, Yash" userId="d3219360-dc34-4c5d-aaa0-47f172547215" providerId="ADAL" clId="{4734F14E-700E-43BE-8802-134898EA49E2}" dt="2023-03-08T17:13:51.554" v="820"/>
          <ac:graphicFrameMkLst>
            <pc:docMk/>
            <pc:sldMk cId="3018579934" sldId="266"/>
            <ac:graphicFrameMk id="4" creationId="{5F225C0E-88FD-3F56-DFCD-6B61AD1DEA44}"/>
          </ac:graphicFrameMkLst>
        </pc:graphicFrameChg>
      </pc:sldChg>
      <pc:sldChg chg="addSp delSp modSp mod modNotesTx">
        <pc:chgData name="Jivani, Yash" userId="d3219360-dc34-4c5d-aaa0-47f172547215" providerId="ADAL" clId="{4734F14E-700E-43BE-8802-134898EA49E2}" dt="2023-03-08T20:42:01.196" v="6837" actId="20577"/>
        <pc:sldMkLst>
          <pc:docMk/>
          <pc:sldMk cId="3198117231" sldId="269"/>
        </pc:sldMkLst>
        <pc:spChg chg="add mod">
          <ac:chgData name="Jivani, Yash" userId="d3219360-dc34-4c5d-aaa0-47f172547215" providerId="ADAL" clId="{4734F14E-700E-43BE-8802-134898EA49E2}" dt="2023-03-08T18:16:53.346" v="3554"/>
          <ac:spMkLst>
            <pc:docMk/>
            <pc:sldMk cId="3198117231" sldId="269"/>
            <ac:spMk id="2" creationId="{79DEC7C1-EDF6-CA84-71B2-A570F4733BB1}"/>
          </ac:spMkLst>
        </pc:spChg>
        <pc:spChg chg="del">
          <ac:chgData name="Jivani, Yash" userId="d3219360-dc34-4c5d-aaa0-47f172547215" providerId="ADAL" clId="{4734F14E-700E-43BE-8802-134898EA49E2}" dt="2023-03-08T20:07:39.600" v="6514" actId="478"/>
          <ac:spMkLst>
            <pc:docMk/>
            <pc:sldMk cId="3198117231" sldId="269"/>
            <ac:spMk id="3" creationId="{E19695CD-B01E-08FB-C897-40A96AD11F44}"/>
          </ac:spMkLst>
        </pc:spChg>
        <pc:spChg chg="add mod">
          <ac:chgData name="Jivani, Yash" userId="d3219360-dc34-4c5d-aaa0-47f172547215" providerId="ADAL" clId="{4734F14E-700E-43BE-8802-134898EA49E2}" dt="2023-03-08T20:07:40.185" v="6515"/>
          <ac:spMkLst>
            <pc:docMk/>
            <pc:sldMk cId="3198117231" sldId="269"/>
            <ac:spMk id="4" creationId="{AB0ACC46-5548-2F65-4487-A003B038BE93}"/>
          </ac:spMkLst>
        </pc:spChg>
        <pc:spChg chg="del">
          <ac:chgData name="Jivani, Yash" userId="d3219360-dc34-4c5d-aaa0-47f172547215" providerId="ADAL" clId="{4734F14E-700E-43BE-8802-134898EA49E2}" dt="2023-03-08T18:16:53.094" v="3553" actId="478"/>
          <ac:spMkLst>
            <pc:docMk/>
            <pc:sldMk cId="3198117231" sldId="269"/>
            <ac:spMk id="16" creationId="{E3D153BF-76BC-C2E5-4AA4-D37D876FCBC0}"/>
          </ac:spMkLst>
        </pc:spChg>
        <pc:picChg chg="mod">
          <ac:chgData name="Jivani, Yash" userId="d3219360-dc34-4c5d-aaa0-47f172547215" providerId="ADAL" clId="{4734F14E-700E-43BE-8802-134898EA49E2}" dt="2023-03-08T20:34:24.015" v="6725" actId="14100"/>
          <ac:picMkLst>
            <pc:docMk/>
            <pc:sldMk cId="3198117231" sldId="269"/>
            <ac:picMk id="18" creationId="{0A2D7C8F-4B3D-035B-13F4-0FD2017D2C11}"/>
          </ac:picMkLst>
        </pc:picChg>
      </pc:sldChg>
      <pc:sldChg chg="addSp delSp modSp mod modAnim">
        <pc:chgData name="Jivani, Yash" userId="d3219360-dc34-4c5d-aaa0-47f172547215" providerId="ADAL" clId="{4734F14E-700E-43BE-8802-134898EA49E2}" dt="2023-03-08T20:40:00.525" v="6784" actId="1076"/>
        <pc:sldMkLst>
          <pc:docMk/>
          <pc:sldMk cId="2625490638" sldId="270"/>
        </pc:sldMkLst>
        <pc:spChg chg="del">
          <ac:chgData name="Jivani, Yash" userId="d3219360-dc34-4c5d-aaa0-47f172547215" providerId="ADAL" clId="{4734F14E-700E-43BE-8802-134898EA49E2}" dt="2023-03-08T18:19:00.766" v="3568" actId="478"/>
          <ac:spMkLst>
            <pc:docMk/>
            <pc:sldMk cId="2625490638" sldId="270"/>
            <ac:spMk id="3" creationId="{AC070EF6-6E4D-1C22-9914-05BBE01207FA}"/>
          </ac:spMkLst>
        </pc:spChg>
        <pc:spChg chg="add mod">
          <ac:chgData name="Jivani, Yash" userId="d3219360-dc34-4c5d-aaa0-47f172547215" providerId="ADAL" clId="{4734F14E-700E-43BE-8802-134898EA49E2}" dt="2023-03-08T18:19:01.301" v="3569"/>
          <ac:spMkLst>
            <pc:docMk/>
            <pc:sldMk cId="2625490638" sldId="270"/>
            <ac:spMk id="4" creationId="{73380592-D770-11F5-8ACF-677BEEE521A6}"/>
          </ac:spMkLst>
        </pc:spChg>
        <pc:spChg chg="del">
          <ac:chgData name="Jivani, Yash" userId="d3219360-dc34-4c5d-aaa0-47f172547215" providerId="ADAL" clId="{4734F14E-700E-43BE-8802-134898EA49E2}" dt="2023-03-08T18:56:01.362" v="6153" actId="478"/>
          <ac:spMkLst>
            <pc:docMk/>
            <pc:sldMk cId="2625490638" sldId="270"/>
            <ac:spMk id="5" creationId="{DEA9F949-3211-2FCB-8FB7-031BC3BEC5C8}"/>
          </ac:spMkLst>
        </pc:spChg>
        <pc:spChg chg="add mod">
          <ac:chgData name="Jivani, Yash" userId="d3219360-dc34-4c5d-aaa0-47f172547215" providerId="ADAL" clId="{4734F14E-700E-43BE-8802-134898EA49E2}" dt="2023-03-08T18:56:02.368" v="6154"/>
          <ac:spMkLst>
            <pc:docMk/>
            <pc:sldMk cId="2625490638" sldId="270"/>
            <ac:spMk id="7" creationId="{D5AA6E15-8BA9-8AA7-804F-B5885CCACC63}"/>
          </ac:spMkLst>
        </pc:spChg>
        <pc:spChg chg="add mod">
          <ac:chgData name="Jivani, Yash" userId="d3219360-dc34-4c5d-aaa0-47f172547215" providerId="ADAL" clId="{4734F14E-700E-43BE-8802-134898EA49E2}" dt="2023-03-08T20:40:00.525" v="6784" actId="1076"/>
          <ac:spMkLst>
            <pc:docMk/>
            <pc:sldMk cId="2625490638" sldId="270"/>
            <ac:spMk id="8" creationId="{3F693D28-CF9D-F66E-0A3B-291205C051D6}"/>
          </ac:spMkLst>
        </pc:spChg>
        <pc:spChg chg="mod">
          <ac:chgData name="Jivani, Yash" userId="d3219360-dc34-4c5d-aaa0-47f172547215" providerId="ADAL" clId="{4734F14E-700E-43BE-8802-134898EA49E2}" dt="2023-03-08T19:15:38.385" v="6314" actId="1076"/>
          <ac:spMkLst>
            <pc:docMk/>
            <pc:sldMk cId="2625490638" sldId="270"/>
            <ac:spMk id="9" creationId="{D22FE04A-F69F-3EBC-73A3-5FB1EAF0FC81}"/>
          </ac:spMkLst>
        </pc:spChg>
        <pc:spChg chg="mod">
          <ac:chgData name="Jivani, Yash" userId="d3219360-dc34-4c5d-aaa0-47f172547215" providerId="ADAL" clId="{4734F14E-700E-43BE-8802-134898EA49E2}" dt="2023-03-08T20:40:00.525" v="6784" actId="1076"/>
          <ac:spMkLst>
            <pc:docMk/>
            <pc:sldMk cId="2625490638" sldId="270"/>
            <ac:spMk id="10" creationId="{41145529-4C3A-620A-025A-1D87AD056A9E}"/>
          </ac:spMkLst>
        </pc:spChg>
        <pc:picChg chg="add del mod">
          <ac:chgData name="Jivani, Yash" userId="d3219360-dc34-4c5d-aaa0-47f172547215" providerId="ADAL" clId="{4734F14E-700E-43BE-8802-134898EA49E2}" dt="2023-03-08T18:11:17.497" v="2706"/>
          <ac:picMkLst>
            <pc:docMk/>
            <pc:sldMk cId="2625490638" sldId="270"/>
            <ac:picMk id="2" creationId="{61E0FFDB-A801-F96E-F538-C7E2F7DBCD21}"/>
          </ac:picMkLst>
        </pc:picChg>
      </pc:sldChg>
      <pc:sldChg chg="addSp delSp modSp mod">
        <pc:chgData name="Jivani, Yash" userId="d3219360-dc34-4c5d-aaa0-47f172547215" providerId="ADAL" clId="{4734F14E-700E-43BE-8802-134898EA49E2}" dt="2023-03-08T20:31:54.714" v="6700" actId="1076"/>
        <pc:sldMkLst>
          <pc:docMk/>
          <pc:sldMk cId="3846386848" sldId="271"/>
        </pc:sldMkLst>
        <pc:spChg chg="add mod">
          <ac:chgData name="Jivani, Yash" userId="d3219360-dc34-4c5d-aaa0-47f172547215" providerId="ADAL" clId="{4734F14E-700E-43BE-8802-134898EA49E2}" dt="2023-03-08T18:19:35.854" v="3574"/>
          <ac:spMkLst>
            <pc:docMk/>
            <pc:sldMk cId="3846386848" sldId="271"/>
            <ac:spMk id="2" creationId="{F6A4513B-D8E4-3015-A0D7-77B7E961A046}"/>
          </ac:spMkLst>
        </pc:spChg>
        <pc:spChg chg="mod">
          <ac:chgData name="Jivani, Yash" userId="d3219360-dc34-4c5d-aaa0-47f172547215" providerId="ADAL" clId="{4734F14E-700E-43BE-8802-134898EA49E2}" dt="2023-03-08T20:31:54.714" v="6700" actId="1076"/>
          <ac:spMkLst>
            <pc:docMk/>
            <pc:sldMk cId="3846386848" sldId="271"/>
            <ac:spMk id="5" creationId="{001CF14E-F3CB-630A-F67D-9E4093FF9E6A}"/>
          </ac:spMkLst>
        </pc:spChg>
        <pc:spChg chg="del">
          <ac:chgData name="Jivani, Yash" userId="d3219360-dc34-4c5d-aaa0-47f172547215" providerId="ADAL" clId="{4734F14E-700E-43BE-8802-134898EA49E2}" dt="2023-03-08T18:19:35.664" v="3573" actId="478"/>
          <ac:spMkLst>
            <pc:docMk/>
            <pc:sldMk cId="3846386848" sldId="271"/>
            <ac:spMk id="7" creationId="{E457B5EE-9575-1480-CB76-A11FE447BABA}"/>
          </ac:spMkLst>
        </pc:spChg>
        <pc:spChg chg="del">
          <ac:chgData name="Jivani, Yash" userId="d3219360-dc34-4c5d-aaa0-47f172547215" providerId="ADAL" clId="{4734F14E-700E-43BE-8802-134898EA49E2}" dt="2023-03-08T18:56:08.765" v="6155" actId="478"/>
          <ac:spMkLst>
            <pc:docMk/>
            <pc:sldMk cId="3846386848" sldId="271"/>
            <ac:spMk id="8" creationId="{A7DA2F0E-8483-09D2-2530-3BD341272ABB}"/>
          </ac:spMkLst>
        </pc:spChg>
        <pc:spChg chg="mod">
          <ac:chgData name="Jivani, Yash" userId="d3219360-dc34-4c5d-aaa0-47f172547215" providerId="ADAL" clId="{4734F14E-700E-43BE-8802-134898EA49E2}" dt="2023-03-08T18:22:54.880" v="3603" actId="20577"/>
          <ac:spMkLst>
            <pc:docMk/>
            <pc:sldMk cId="3846386848" sldId="271"/>
            <ac:spMk id="9" creationId="{D22FE04A-F69F-3EBC-73A3-5FB1EAF0FC81}"/>
          </ac:spMkLst>
        </pc:spChg>
        <pc:spChg chg="add mod">
          <ac:chgData name="Jivani, Yash" userId="d3219360-dc34-4c5d-aaa0-47f172547215" providerId="ADAL" clId="{4734F14E-700E-43BE-8802-134898EA49E2}" dt="2023-03-08T18:56:09.040" v="6156"/>
          <ac:spMkLst>
            <pc:docMk/>
            <pc:sldMk cId="3846386848" sldId="271"/>
            <ac:spMk id="10" creationId="{97D3CF47-3CB1-BCA2-AD22-24ECBB8ED7E2}"/>
          </ac:spMkLst>
        </pc:spChg>
        <pc:picChg chg="mod">
          <ac:chgData name="Jivani, Yash" userId="d3219360-dc34-4c5d-aaa0-47f172547215" providerId="ADAL" clId="{4734F14E-700E-43BE-8802-134898EA49E2}" dt="2023-03-08T20:01:54.649" v="6485" actId="208"/>
          <ac:picMkLst>
            <pc:docMk/>
            <pc:sldMk cId="3846386848" sldId="271"/>
            <ac:picMk id="3" creationId="{C19061FF-F243-CCA4-49A6-84E18DE9B532}"/>
          </ac:picMkLst>
        </pc:picChg>
      </pc:sldChg>
      <pc:sldChg chg="addSp delSp modSp del mod">
        <pc:chgData name="Jivani, Yash" userId="d3219360-dc34-4c5d-aaa0-47f172547215" providerId="ADAL" clId="{4734F14E-700E-43BE-8802-134898EA49E2}" dt="2023-03-08T18:09:40.961" v="2699" actId="47"/>
        <pc:sldMkLst>
          <pc:docMk/>
          <pc:sldMk cId="320552397" sldId="273"/>
        </pc:sldMkLst>
        <pc:spChg chg="add mod">
          <ac:chgData name="Jivani, Yash" userId="d3219360-dc34-4c5d-aaa0-47f172547215" providerId="ADAL" clId="{4734F14E-700E-43BE-8802-134898EA49E2}" dt="2023-03-08T18:03:21.776" v="2370" actId="1076"/>
          <ac:spMkLst>
            <pc:docMk/>
            <pc:sldMk cId="320552397" sldId="273"/>
            <ac:spMk id="2" creationId="{2BC90032-6CE7-5901-2806-2AFF0CB7BF82}"/>
          </ac:spMkLst>
        </pc:spChg>
        <pc:spChg chg="del">
          <ac:chgData name="Jivani, Yash" userId="d3219360-dc34-4c5d-aaa0-47f172547215" providerId="ADAL" clId="{4734F14E-700E-43BE-8802-134898EA49E2}" dt="2023-03-08T18:03:15.303" v="2369" actId="478"/>
          <ac:spMkLst>
            <pc:docMk/>
            <pc:sldMk cId="320552397" sldId="273"/>
            <ac:spMk id="4" creationId="{55A17655-02F2-BEEF-1F6C-8F15A61AACB7}"/>
          </ac:spMkLst>
        </pc:spChg>
        <pc:spChg chg="mod">
          <ac:chgData name="Jivani, Yash" userId="d3219360-dc34-4c5d-aaa0-47f172547215" providerId="ADAL" clId="{4734F14E-700E-43BE-8802-134898EA49E2}" dt="2023-03-08T18:02:04.036" v="2356" actId="2711"/>
          <ac:spMkLst>
            <pc:docMk/>
            <pc:sldMk cId="320552397" sldId="273"/>
            <ac:spMk id="9" creationId="{07FBB427-BCD0-4241-AFB8-E4D2DD0F878A}"/>
          </ac:spMkLst>
        </pc:spChg>
      </pc:sldChg>
      <pc:sldChg chg="addSp delSp modSp del mod">
        <pc:chgData name="Jivani, Yash" userId="d3219360-dc34-4c5d-aaa0-47f172547215" providerId="ADAL" clId="{4734F14E-700E-43BE-8802-134898EA49E2}" dt="2023-03-08T20:02:45.593" v="6492" actId="47"/>
        <pc:sldMkLst>
          <pc:docMk/>
          <pc:sldMk cId="670468002" sldId="274"/>
        </pc:sldMkLst>
        <pc:spChg chg="add mod">
          <ac:chgData name="Jivani, Yash" userId="d3219360-dc34-4c5d-aaa0-47f172547215" providerId="ADAL" clId="{4734F14E-700E-43BE-8802-134898EA49E2}" dt="2023-03-08T18:03:10.083" v="2367" actId="1076"/>
          <ac:spMkLst>
            <pc:docMk/>
            <pc:sldMk cId="670468002" sldId="274"/>
            <ac:spMk id="2" creationId="{2F1129AB-9EE7-5B0E-4EC8-D607B964A460}"/>
          </ac:spMkLst>
        </pc:spChg>
        <pc:spChg chg="del mod">
          <ac:chgData name="Jivani, Yash" userId="d3219360-dc34-4c5d-aaa0-47f172547215" providerId="ADAL" clId="{4734F14E-700E-43BE-8802-134898EA49E2}" dt="2023-03-08T18:58:48.583" v="6186" actId="478"/>
          <ac:spMkLst>
            <pc:docMk/>
            <pc:sldMk cId="670468002" sldId="274"/>
            <ac:spMk id="4" creationId="{C0C00B2D-2133-0612-D1C2-886695BD2C68}"/>
          </ac:spMkLst>
        </pc:spChg>
        <pc:spChg chg="del">
          <ac:chgData name="Jivani, Yash" userId="d3219360-dc34-4c5d-aaa0-47f172547215" providerId="ADAL" clId="{4734F14E-700E-43BE-8802-134898EA49E2}" dt="2023-03-08T18:02:56.787" v="2363" actId="478"/>
          <ac:spMkLst>
            <pc:docMk/>
            <pc:sldMk cId="670468002" sldId="274"/>
            <ac:spMk id="5" creationId="{1F9D369E-9E0A-F787-5B64-F68E7416251C}"/>
          </ac:spMkLst>
        </pc:spChg>
        <pc:spChg chg="add mod">
          <ac:chgData name="Jivani, Yash" userId="d3219360-dc34-4c5d-aaa0-47f172547215" providerId="ADAL" clId="{4734F14E-700E-43BE-8802-134898EA49E2}" dt="2023-03-08T18:58:49.263" v="6187"/>
          <ac:spMkLst>
            <pc:docMk/>
            <pc:sldMk cId="670468002" sldId="274"/>
            <ac:spMk id="7" creationId="{EF9BF18F-96B7-1604-741D-0CCACBA54221}"/>
          </ac:spMkLst>
        </pc:spChg>
        <pc:spChg chg="mod">
          <ac:chgData name="Jivani, Yash" userId="d3219360-dc34-4c5d-aaa0-47f172547215" providerId="ADAL" clId="{4734F14E-700E-43BE-8802-134898EA49E2}" dt="2023-03-08T19:02:20.263" v="6193" actId="20577"/>
          <ac:spMkLst>
            <pc:docMk/>
            <pc:sldMk cId="670468002" sldId="274"/>
            <ac:spMk id="9" creationId="{07FBB427-BCD0-4241-AFB8-E4D2DD0F878A}"/>
          </ac:spMkLst>
        </pc:spChg>
        <pc:spChg chg="mod">
          <ac:chgData name="Jivani, Yash" userId="d3219360-dc34-4c5d-aaa0-47f172547215" providerId="ADAL" clId="{4734F14E-700E-43BE-8802-134898EA49E2}" dt="2023-03-08T20:02:35.606" v="6491" actId="1076"/>
          <ac:spMkLst>
            <pc:docMk/>
            <pc:sldMk cId="670468002" sldId="274"/>
            <ac:spMk id="10" creationId="{C53A8EFD-F4FF-824A-E262-57BDB5A03ED7}"/>
          </ac:spMkLst>
        </pc:spChg>
        <pc:picChg chg="mod modCrop">
          <ac:chgData name="Jivani, Yash" userId="d3219360-dc34-4c5d-aaa0-47f172547215" providerId="ADAL" clId="{4734F14E-700E-43BE-8802-134898EA49E2}" dt="2023-03-08T20:02:34.904" v="6490" actId="1076"/>
          <ac:picMkLst>
            <pc:docMk/>
            <pc:sldMk cId="670468002" sldId="274"/>
            <ac:picMk id="3" creationId="{75EABD43-4076-8416-99F9-748A18DE9717}"/>
          </ac:picMkLst>
        </pc:picChg>
      </pc:sldChg>
      <pc:sldChg chg="modSp del mod">
        <pc:chgData name="Jivani, Yash" userId="d3219360-dc34-4c5d-aaa0-47f172547215" providerId="ADAL" clId="{4734F14E-700E-43BE-8802-134898EA49E2}" dt="2023-03-08T19:12:29.516" v="6304" actId="47"/>
        <pc:sldMkLst>
          <pc:docMk/>
          <pc:sldMk cId="164363026" sldId="275"/>
        </pc:sldMkLst>
        <pc:spChg chg="mod">
          <ac:chgData name="Jivani, Yash" userId="d3219360-dc34-4c5d-aaa0-47f172547215" providerId="ADAL" clId="{4734F14E-700E-43BE-8802-134898EA49E2}" dt="2023-03-08T18:02:27.029" v="2359" actId="2711"/>
          <ac:spMkLst>
            <pc:docMk/>
            <pc:sldMk cId="164363026" sldId="275"/>
            <ac:spMk id="9" creationId="{07FBB427-BCD0-4241-AFB8-E4D2DD0F878A}"/>
          </ac:spMkLst>
        </pc:spChg>
        <pc:spChg chg="mod">
          <ac:chgData name="Jivani, Yash" userId="d3219360-dc34-4c5d-aaa0-47f172547215" providerId="ADAL" clId="{4734F14E-700E-43BE-8802-134898EA49E2}" dt="2023-03-08T18:02:49.463" v="2362" actId="1076"/>
          <ac:spMkLst>
            <pc:docMk/>
            <pc:sldMk cId="164363026" sldId="275"/>
            <ac:spMk id="14" creationId="{57F7CF9E-9BF3-BFFC-3D25-309A6A08727D}"/>
          </ac:spMkLst>
        </pc:spChg>
      </pc:sldChg>
      <pc:sldChg chg="addSp delSp modSp mod">
        <pc:chgData name="Jivani, Yash" userId="d3219360-dc34-4c5d-aaa0-47f172547215" providerId="ADAL" clId="{4734F14E-700E-43BE-8802-134898EA49E2}" dt="2023-03-08T20:01:30.913" v="6482" actId="1076"/>
        <pc:sldMkLst>
          <pc:docMk/>
          <pc:sldMk cId="3779466304" sldId="276"/>
        </pc:sldMkLst>
        <pc:spChg chg="add mod">
          <ac:chgData name="Jivani, Yash" userId="d3219360-dc34-4c5d-aaa0-47f172547215" providerId="ADAL" clId="{4734F14E-700E-43BE-8802-134898EA49E2}" dt="2023-03-08T18:19:39.843" v="3576"/>
          <ac:spMkLst>
            <pc:docMk/>
            <pc:sldMk cId="3779466304" sldId="276"/>
            <ac:spMk id="2" creationId="{9782A366-42C2-147D-3394-DACD2FD3F8C0}"/>
          </ac:spMkLst>
        </pc:spChg>
        <pc:spChg chg="del">
          <ac:chgData name="Jivani, Yash" userId="d3219360-dc34-4c5d-aaa0-47f172547215" providerId="ADAL" clId="{4734F14E-700E-43BE-8802-134898EA49E2}" dt="2023-03-08T18:56:15.181" v="6157" actId="478"/>
          <ac:spMkLst>
            <pc:docMk/>
            <pc:sldMk cId="3779466304" sldId="276"/>
            <ac:spMk id="5" creationId="{F8D498FC-FC03-6A9B-22DB-5CBF22A22C35}"/>
          </ac:spMkLst>
        </pc:spChg>
        <pc:spChg chg="add mod">
          <ac:chgData name="Jivani, Yash" userId="d3219360-dc34-4c5d-aaa0-47f172547215" providerId="ADAL" clId="{4734F14E-700E-43BE-8802-134898EA49E2}" dt="2023-03-08T18:56:15.464" v="6158"/>
          <ac:spMkLst>
            <pc:docMk/>
            <pc:sldMk cId="3779466304" sldId="276"/>
            <ac:spMk id="7" creationId="{187591FF-8657-73CC-DE6A-28096088116F}"/>
          </ac:spMkLst>
        </pc:spChg>
        <pc:spChg chg="del">
          <ac:chgData name="Jivani, Yash" userId="d3219360-dc34-4c5d-aaa0-47f172547215" providerId="ADAL" clId="{4734F14E-700E-43BE-8802-134898EA49E2}" dt="2023-03-08T20:00:07.768" v="6462" actId="478"/>
          <ac:spMkLst>
            <pc:docMk/>
            <pc:sldMk cId="3779466304" sldId="276"/>
            <ac:spMk id="8" creationId="{3143E8C5-5A5A-0869-27C2-5318588D0224}"/>
          </ac:spMkLst>
        </pc:spChg>
        <pc:spChg chg="mod">
          <ac:chgData name="Jivani, Yash" userId="d3219360-dc34-4c5d-aaa0-47f172547215" providerId="ADAL" clId="{4734F14E-700E-43BE-8802-134898EA49E2}" dt="2023-03-08T20:01:30.913" v="6482" actId="1076"/>
          <ac:spMkLst>
            <pc:docMk/>
            <pc:sldMk cId="3779466304" sldId="276"/>
            <ac:spMk id="9" creationId="{D22FE04A-F69F-3EBC-73A3-5FB1EAF0FC81}"/>
          </ac:spMkLst>
        </pc:spChg>
        <pc:spChg chg="add mod">
          <ac:chgData name="Jivani, Yash" userId="d3219360-dc34-4c5d-aaa0-47f172547215" providerId="ADAL" clId="{4734F14E-700E-43BE-8802-134898EA49E2}" dt="2023-03-08T20:01:26.944" v="6481" actId="1076"/>
          <ac:spMkLst>
            <pc:docMk/>
            <pc:sldMk cId="3779466304" sldId="276"/>
            <ac:spMk id="10" creationId="{F31CAF74-D71D-6789-BE24-89953319BA62}"/>
          </ac:spMkLst>
        </pc:spChg>
        <pc:spChg chg="del">
          <ac:chgData name="Jivani, Yash" userId="d3219360-dc34-4c5d-aaa0-47f172547215" providerId="ADAL" clId="{4734F14E-700E-43BE-8802-134898EA49E2}" dt="2023-03-08T18:19:39.670" v="3575" actId="478"/>
          <ac:spMkLst>
            <pc:docMk/>
            <pc:sldMk cId="3779466304" sldId="276"/>
            <ac:spMk id="11" creationId="{84AF6941-CFF8-C1FB-02A3-D65BAC4489F7}"/>
          </ac:spMkLst>
        </pc:spChg>
        <pc:grpChg chg="add mod">
          <ac:chgData name="Jivani, Yash" userId="d3219360-dc34-4c5d-aaa0-47f172547215" providerId="ADAL" clId="{4734F14E-700E-43BE-8802-134898EA49E2}" dt="2023-03-08T20:01:10.092" v="6477" actId="164"/>
          <ac:grpSpMkLst>
            <pc:docMk/>
            <pc:sldMk cId="3779466304" sldId="276"/>
            <ac:grpSpMk id="12" creationId="{0E4E915F-FB7C-B569-2022-E3E043634AF0}"/>
          </ac:grpSpMkLst>
        </pc:grpChg>
        <pc:picChg chg="mod">
          <ac:chgData name="Jivani, Yash" userId="d3219360-dc34-4c5d-aaa0-47f172547215" providerId="ADAL" clId="{4734F14E-700E-43BE-8802-134898EA49E2}" dt="2023-03-08T20:01:13.848" v="6478" actId="208"/>
          <ac:picMkLst>
            <pc:docMk/>
            <pc:sldMk cId="3779466304" sldId="276"/>
            <ac:picMk id="3" creationId="{0C05026F-91DA-9E31-F946-39A784E7A83D}"/>
          </ac:picMkLst>
        </pc:picChg>
        <pc:picChg chg="mod">
          <ac:chgData name="Jivani, Yash" userId="d3219360-dc34-4c5d-aaa0-47f172547215" providerId="ADAL" clId="{4734F14E-700E-43BE-8802-134898EA49E2}" dt="2023-03-08T20:01:10.092" v="6477" actId="164"/>
          <ac:picMkLst>
            <pc:docMk/>
            <pc:sldMk cId="3779466304" sldId="276"/>
            <ac:picMk id="4" creationId="{4F3116D9-2C6E-513D-40D1-6AD94793A9D9}"/>
          </ac:picMkLst>
        </pc:picChg>
      </pc:sldChg>
      <pc:sldChg chg="addSp delSp modSp del mod">
        <pc:chgData name="Jivani, Yash" userId="d3219360-dc34-4c5d-aaa0-47f172547215" providerId="ADAL" clId="{4734F14E-700E-43BE-8802-134898EA49E2}" dt="2023-03-08T18:58:25.105" v="6184" actId="47"/>
        <pc:sldMkLst>
          <pc:docMk/>
          <pc:sldMk cId="3301209188" sldId="278"/>
        </pc:sldMkLst>
        <pc:spChg chg="add mod">
          <ac:chgData name="Jivani, Yash" userId="d3219360-dc34-4c5d-aaa0-47f172547215" providerId="ADAL" clId="{4734F14E-700E-43BE-8802-134898EA49E2}" dt="2023-03-08T18:03:32.501" v="2372"/>
          <ac:spMkLst>
            <pc:docMk/>
            <pc:sldMk cId="3301209188" sldId="278"/>
            <ac:spMk id="3" creationId="{BB1C4113-6DFB-7EC5-D9FD-9711C57C4BB3}"/>
          </ac:spMkLst>
        </pc:spChg>
        <pc:spChg chg="mod">
          <ac:chgData name="Jivani, Yash" userId="d3219360-dc34-4c5d-aaa0-47f172547215" providerId="ADAL" clId="{4734F14E-700E-43BE-8802-134898EA49E2}" dt="2023-03-08T18:27:19.121" v="3611" actId="123"/>
          <ac:spMkLst>
            <pc:docMk/>
            <pc:sldMk cId="3301209188" sldId="278"/>
            <ac:spMk id="9" creationId="{07FBB427-BCD0-4241-AFB8-E4D2DD0F878A}"/>
          </ac:spMkLst>
        </pc:spChg>
        <pc:spChg chg="del">
          <ac:chgData name="Jivani, Yash" userId="d3219360-dc34-4c5d-aaa0-47f172547215" providerId="ADAL" clId="{4734F14E-700E-43BE-8802-134898EA49E2}" dt="2023-03-08T18:03:32.234" v="2371" actId="478"/>
          <ac:spMkLst>
            <pc:docMk/>
            <pc:sldMk cId="3301209188" sldId="278"/>
            <ac:spMk id="12" creationId="{9B294BD0-89D5-3541-B745-E2FE8EE8CB0B}"/>
          </ac:spMkLst>
        </pc:spChg>
        <pc:picChg chg="mod">
          <ac:chgData name="Jivani, Yash" userId="d3219360-dc34-4c5d-aaa0-47f172547215" providerId="ADAL" clId="{4734F14E-700E-43BE-8802-134898EA49E2}" dt="2023-03-08T18:01:43.120" v="2352" actId="2085"/>
          <ac:picMkLst>
            <pc:docMk/>
            <pc:sldMk cId="3301209188" sldId="278"/>
            <ac:picMk id="7" creationId="{CA60E10F-E9E9-FE6B-C880-F7DB33CD1BB7}"/>
          </ac:picMkLst>
        </pc:picChg>
      </pc:sldChg>
      <pc:sldChg chg="addSp delSp modSp mod">
        <pc:chgData name="Jivani, Yash" userId="d3219360-dc34-4c5d-aaa0-47f172547215" providerId="ADAL" clId="{4734F14E-700E-43BE-8802-134898EA49E2}" dt="2023-03-08T17:14:05.988" v="864"/>
        <pc:sldMkLst>
          <pc:docMk/>
          <pc:sldMk cId="2103296267" sldId="280"/>
        </pc:sldMkLst>
        <pc:spChg chg="mod">
          <ac:chgData name="Jivani, Yash" userId="d3219360-dc34-4c5d-aaa0-47f172547215" providerId="ADAL" clId="{4734F14E-700E-43BE-8802-134898EA49E2}" dt="2023-03-08T17:14:05.949" v="821" actId="948"/>
          <ac:spMkLst>
            <pc:docMk/>
            <pc:sldMk cId="2103296267" sldId="280"/>
            <ac:spMk id="2" creationId="{47DD7C64-B7C2-4BF1-8389-3756984C6523}"/>
          </ac:spMkLst>
        </pc:spChg>
        <pc:spChg chg="add del mod modVis">
          <ac:chgData name="Jivani, Yash" userId="d3219360-dc34-4c5d-aaa0-47f172547215" providerId="ADAL" clId="{4734F14E-700E-43BE-8802-134898EA49E2}" dt="2023-03-08T17:14:05.980" v="862"/>
          <ac:spMkLst>
            <pc:docMk/>
            <pc:sldMk cId="2103296267" sldId="280"/>
            <ac:spMk id="3" creationId="{7F2DFAEC-55B2-A601-205A-BAE2B035F380}"/>
          </ac:spMkLst>
        </pc:spChg>
        <pc:graphicFrameChg chg="mod">
          <ac:chgData name="Jivani, Yash" userId="d3219360-dc34-4c5d-aaa0-47f172547215" providerId="ADAL" clId="{4734F14E-700E-43BE-8802-134898EA49E2}" dt="2023-03-08T17:14:05.988" v="864"/>
          <ac:graphicFrameMkLst>
            <pc:docMk/>
            <pc:sldMk cId="2103296267" sldId="280"/>
            <ac:graphicFrameMk id="4" creationId="{5F225C0E-88FD-3F56-DFCD-6B61AD1DEA44}"/>
          </ac:graphicFrameMkLst>
        </pc:graphicFrameChg>
      </pc:sldChg>
      <pc:sldChg chg="addSp delSp modSp mod">
        <pc:chgData name="Jivani, Yash" userId="d3219360-dc34-4c5d-aaa0-47f172547215" providerId="ADAL" clId="{4734F14E-700E-43BE-8802-134898EA49E2}" dt="2023-03-08T16:16:54.640" v="619" actId="14100"/>
        <pc:sldMkLst>
          <pc:docMk/>
          <pc:sldMk cId="3902611346" sldId="281"/>
        </pc:sldMkLst>
        <pc:spChg chg="mod">
          <ac:chgData name="Jivani, Yash" userId="d3219360-dc34-4c5d-aaa0-47f172547215" providerId="ADAL" clId="{4734F14E-700E-43BE-8802-134898EA49E2}" dt="2023-03-08T16:16:30.977" v="534" actId="948"/>
          <ac:spMkLst>
            <pc:docMk/>
            <pc:sldMk cId="3902611346" sldId="281"/>
            <ac:spMk id="2" creationId="{D477527B-AB2D-0157-2F81-FB9B57DD9C88}"/>
          </ac:spMkLst>
        </pc:spChg>
        <pc:spChg chg="add del mod modVis">
          <ac:chgData name="Jivani, Yash" userId="d3219360-dc34-4c5d-aaa0-47f172547215" providerId="ADAL" clId="{4734F14E-700E-43BE-8802-134898EA49E2}" dt="2023-03-08T16:16:31.018" v="575"/>
          <ac:spMkLst>
            <pc:docMk/>
            <pc:sldMk cId="3902611346" sldId="281"/>
            <ac:spMk id="4" creationId="{2FA22C85-BF35-DE70-0543-1671968FC33F}"/>
          </ac:spMkLst>
        </pc:spChg>
        <pc:spChg chg="add mod">
          <ac:chgData name="Jivani, Yash" userId="d3219360-dc34-4c5d-aaa0-47f172547215" providerId="ADAL" clId="{4734F14E-700E-43BE-8802-134898EA49E2}" dt="2023-03-08T16:16:54.640" v="619" actId="14100"/>
          <ac:spMkLst>
            <pc:docMk/>
            <pc:sldMk cId="3902611346" sldId="281"/>
            <ac:spMk id="6" creationId="{BBF8F9B4-A650-D9EB-F65B-4A307FABCB29}"/>
          </ac:spMkLst>
        </pc:spChg>
        <pc:graphicFrameChg chg="add mod ord modVis replST">
          <ac:chgData name="Jivani, Yash" userId="d3219360-dc34-4c5d-aaa0-47f172547215" providerId="ADAL" clId="{4734F14E-700E-43BE-8802-134898EA49E2}" dt="2023-03-08T16:16:31.316" v="591"/>
          <ac:graphicFrameMkLst>
            <pc:docMk/>
            <pc:sldMk cId="3902611346" sldId="281"/>
            <ac:graphicFrameMk id="5" creationId="{BBE8CD9C-323E-9A65-6DBB-78F1D894AC34}"/>
          </ac:graphicFrameMkLst>
        </pc:graphicFrameChg>
      </pc:sldChg>
      <pc:sldChg chg="addSp delSp modSp del mod">
        <pc:chgData name="Jivani, Yash" userId="d3219360-dc34-4c5d-aaa0-47f172547215" providerId="ADAL" clId="{4734F14E-700E-43BE-8802-134898EA49E2}" dt="2023-03-08T19:13:27.856" v="6313" actId="47"/>
        <pc:sldMkLst>
          <pc:docMk/>
          <pc:sldMk cId="3034931102" sldId="287"/>
        </pc:sldMkLst>
        <pc:spChg chg="add mod">
          <ac:chgData name="Jivani, Yash" userId="d3219360-dc34-4c5d-aaa0-47f172547215" providerId="ADAL" clId="{4734F14E-700E-43BE-8802-134898EA49E2}" dt="2023-03-08T18:17:11.198" v="3557" actId="1076"/>
          <ac:spMkLst>
            <pc:docMk/>
            <pc:sldMk cId="3034931102" sldId="287"/>
            <ac:spMk id="2" creationId="{A7C1648C-04DC-FE34-AF35-4C085E9303D6}"/>
          </ac:spMkLst>
        </pc:spChg>
        <pc:spChg chg="del">
          <ac:chgData name="Jivani, Yash" userId="d3219360-dc34-4c5d-aaa0-47f172547215" providerId="ADAL" clId="{4734F14E-700E-43BE-8802-134898EA49E2}" dt="2023-03-08T18:17:01.388" v="3555" actId="478"/>
          <ac:spMkLst>
            <pc:docMk/>
            <pc:sldMk cId="3034931102" sldId="287"/>
            <ac:spMk id="12" creationId="{9B294BD0-89D5-3541-B745-E2FE8EE8CB0B}"/>
          </ac:spMkLst>
        </pc:spChg>
      </pc:sldChg>
      <pc:sldChg chg="addSp delSp modSp mod">
        <pc:chgData name="Jivani, Yash" userId="d3219360-dc34-4c5d-aaa0-47f172547215" providerId="ADAL" clId="{4734F14E-700E-43BE-8802-134898EA49E2}" dt="2023-03-08T20:40:38.881" v="6788" actId="1076"/>
        <pc:sldMkLst>
          <pc:docMk/>
          <pc:sldMk cId="2018962188" sldId="288"/>
        </pc:sldMkLst>
        <pc:spChg chg="add mod">
          <ac:chgData name="Jivani, Yash" userId="d3219360-dc34-4c5d-aaa0-47f172547215" providerId="ADAL" clId="{4734F14E-700E-43BE-8802-134898EA49E2}" dt="2023-03-08T19:26:10.500" v="6455" actId="14100"/>
          <ac:spMkLst>
            <pc:docMk/>
            <pc:sldMk cId="2018962188" sldId="288"/>
            <ac:spMk id="2" creationId="{729327A9-AA2F-4708-C6BF-EC9B88F81CE4}"/>
          </ac:spMkLst>
        </pc:spChg>
        <pc:spChg chg="del">
          <ac:chgData name="Jivani, Yash" userId="d3219360-dc34-4c5d-aaa0-47f172547215" providerId="ADAL" clId="{4734F14E-700E-43BE-8802-134898EA49E2}" dt="2023-03-08T19:25:42.200" v="6447" actId="478"/>
          <ac:spMkLst>
            <pc:docMk/>
            <pc:sldMk cId="2018962188" sldId="288"/>
            <ac:spMk id="3" creationId="{3129B732-CEA8-8841-7D27-48582791374D}"/>
          </ac:spMkLst>
        </pc:spChg>
        <pc:spChg chg="del mod">
          <ac:chgData name="Jivani, Yash" userId="d3219360-dc34-4c5d-aaa0-47f172547215" providerId="ADAL" clId="{4734F14E-700E-43BE-8802-134898EA49E2}" dt="2023-03-08T18:16:21.919" v="3545" actId="478"/>
          <ac:spMkLst>
            <pc:docMk/>
            <pc:sldMk cId="2018962188" sldId="288"/>
            <ac:spMk id="5" creationId="{1F9D369E-9E0A-F787-5B64-F68E7416251C}"/>
          </ac:spMkLst>
        </pc:spChg>
        <pc:spChg chg="del mod">
          <ac:chgData name="Jivani, Yash" userId="d3219360-dc34-4c5d-aaa0-47f172547215" providerId="ADAL" clId="{4734F14E-700E-43BE-8802-134898EA49E2}" dt="2023-03-08T20:03:30.908" v="6498" actId="478"/>
          <ac:spMkLst>
            <pc:docMk/>
            <pc:sldMk cId="2018962188" sldId="288"/>
            <ac:spMk id="9" creationId="{07FBB427-BCD0-4241-AFB8-E4D2DD0F878A}"/>
          </ac:spMkLst>
        </pc:spChg>
        <pc:spChg chg="add mod">
          <ac:chgData name="Jivani, Yash" userId="d3219360-dc34-4c5d-aaa0-47f172547215" providerId="ADAL" clId="{4734F14E-700E-43BE-8802-134898EA49E2}" dt="2023-03-08T20:06:07.600" v="6504" actId="1076"/>
          <ac:spMkLst>
            <pc:docMk/>
            <pc:sldMk cId="2018962188" sldId="288"/>
            <ac:spMk id="10" creationId="{A5AA8AC1-E7EB-AE80-16BD-01084F7B80E8}"/>
          </ac:spMkLst>
        </pc:spChg>
        <pc:spChg chg="mod">
          <ac:chgData name="Jivani, Yash" userId="d3219360-dc34-4c5d-aaa0-47f172547215" providerId="ADAL" clId="{4734F14E-700E-43BE-8802-134898EA49E2}" dt="2023-03-08T20:40:38.881" v="6788" actId="1076"/>
          <ac:spMkLst>
            <pc:docMk/>
            <pc:sldMk cId="2018962188" sldId="288"/>
            <ac:spMk id="12" creationId="{1D9AC454-A55C-4050-0C7C-D3922D964BE4}"/>
          </ac:spMkLst>
        </pc:spChg>
        <pc:spChg chg="add mod">
          <ac:chgData name="Jivani, Yash" userId="d3219360-dc34-4c5d-aaa0-47f172547215" providerId="ADAL" clId="{4734F14E-700E-43BE-8802-134898EA49E2}" dt="2023-03-08T20:40:38.881" v="6788" actId="1076"/>
          <ac:spMkLst>
            <pc:docMk/>
            <pc:sldMk cId="2018962188" sldId="288"/>
            <ac:spMk id="13" creationId="{69EBE1EF-55CD-25E3-48EE-09ABFF50D8BF}"/>
          </ac:spMkLst>
        </pc:spChg>
        <pc:grpChg chg="mod">
          <ac:chgData name="Jivani, Yash" userId="d3219360-dc34-4c5d-aaa0-47f172547215" providerId="ADAL" clId="{4734F14E-700E-43BE-8802-134898EA49E2}" dt="2023-03-08T20:16:25.792" v="6516" actId="1076"/>
          <ac:grpSpMkLst>
            <pc:docMk/>
            <pc:sldMk cId="2018962188" sldId="288"/>
            <ac:grpSpMk id="11" creationId="{A43372E7-E99D-31E8-8FFF-CABE458B7A18}"/>
          </ac:grpSpMkLst>
        </pc:grpChg>
        <pc:picChg chg="mod">
          <ac:chgData name="Jivani, Yash" userId="d3219360-dc34-4c5d-aaa0-47f172547215" providerId="ADAL" clId="{4734F14E-700E-43BE-8802-134898EA49E2}" dt="2023-03-08T20:32:58.712" v="6720" actId="108"/>
          <ac:picMkLst>
            <pc:docMk/>
            <pc:sldMk cId="2018962188" sldId="288"/>
            <ac:picMk id="4" creationId="{62E56528-7AA0-8692-2611-E6770551BF22}"/>
          </ac:picMkLst>
        </pc:picChg>
      </pc:sldChg>
      <pc:sldChg chg="addSp delSp modSp mod">
        <pc:chgData name="Jivani, Yash" userId="d3219360-dc34-4c5d-aaa0-47f172547215" providerId="ADAL" clId="{4734F14E-700E-43BE-8802-134898EA49E2}" dt="2023-03-08T20:20:02.496" v="6675" actId="14100"/>
        <pc:sldMkLst>
          <pc:docMk/>
          <pc:sldMk cId="3696591219" sldId="289"/>
        </pc:sldMkLst>
        <pc:spChg chg="add mod">
          <ac:chgData name="Jivani, Yash" userId="d3219360-dc34-4c5d-aaa0-47f172547215" providerId="ADAL" clId="{4734F14E-700E-43BE-8802-134898EA49E2}" dt="2023-03-08T18:16:38.112" v="3548"/>
          <ac:spMkLst>
            <pc:docMk/>
            <pc:sldMk cId="3696591219" sldId="289"/>
            <ac:spMk id="3" creationId="{2F6364AC-EE0E-47BE-1CCD-A1382ECB75E1}"/>
          </ac:spMkLst>
        </pc:spChg>
        <pc:spChg chg="del mod">
          <ac:chgData name="Jivani, Yash" userId="d3219360-dc34-4c5d-aaa0-47f172547215" providerId="ADAL" clId="{4734F14E-700E-43BE-8802-134898EA49E2}" dt="2023-03-08T20:06:58.845" v="6508" actId="478"/>
          <ac:spMkLst>
            <pc:docMk/>
            <pc:sldMk cId="3696591219" sldId="289"/>
            <ac:spMk id="4" creationId="{F443B323-3E3C-71BB-8AB3-A7CDBBE26283}"/>
          </ac:spMkLst>
        </pc:spChg>
        <pc:spChg chg="del">
          <ac:chgData name="Jivani, Yash" userId="d3219360-dc34-4c5d-aaa0-47f172547215" providerId="ADAL" clId="{4734F14E-700E-43BE-8802-134898EA49E2}" dt="2023-03-08T18:16:37.719" v="3547" actId="478"/>
          <ac:spMkLst>
            <pc:docMk/>
            <pc:sldMk cId="3696591219" sldId="289"/>
            <ac:spMk id="5" creationId="{1F9D369E-9E0A-F787-5B64-F68E7416251C}"/>
          </ac:spMkLst>
        </pc:spChg>
        <pc:spChg chg="add mod">
          <ac:chgData name="Jivani, Yash" userId="d3219360-dc34-4c5d-aaa0-47f172547215" providerId="ADAL" clId="{4734F14E-700E-43BE-8802-134898EA49E2}" dt="2023-03-08T20:06:59.223" v="6509"/>
          <ac:spMkLst>
            <pc:docMk/>
            <pc:sldMk cId="3696591219" sldId="289"/>
            <ac:spMk id="7" creationId="{C2D5FFB4-5111-8858-0274-A19FB6BC91D3}"/>
          </ac:spMkLst>
        </pc:spChg>
        <pc:spChg chg="mod">
          <ac:chgData name="Jivani, Yash" userId="d3219360-dc34-4c5d-aaa0-47f172547215" providerId="ADAL" clId="{4734F14E-700E-43BE-8802-134898EA49E2}" dt="2023-03-08T20:05:02.145" v="6501" actId="1076"/>
          <ac:spMkLst>
            <pc:docMk/>
            <pc:sldMk cId="3696591219" sldId="289"/>
            <ac:spMk id="9" creationId="{07FBB427-BCD0-4241-AFB8-E4D2DD0F878A}"/>
          </ac:spMkLst>
        </pc:spChg>
        <pc:picChg chg="mod">
          <ac:chgData name="Jivani, Yash" userId="d3219360-dc34-4c5d-aaa0-47f172547215" providerId="ADAL" clId="{4734F14E-700E-43BE-8802-134898EA49E2}" dt="2023-03-08T20:20:02.496" v="6675" actId="14100"/>
          <ac:picMkLst>
            <pc:docMk/>
            <pc:sldMk cId="3696591219" sldId="289"/>
            <ac:picMk id="2" creationId="{989A7B56-90EC-D097-4EB3-8E6F39DF795B}"/>
          </ac:picMkLst>
        </pc:picChg>
        <pc:picChg chg="mod">
          <ac:chgData name="Jivani, Yash" userId="d3219360-dc34-4c5d-aaa0-47f172547215" providerId="ADAL" clId="{4734F14E-700E-43BE-8802-134898EA49E2}" dt="2023-03-08T20:05:08.741" v="6502" actId="1076"/>
          <ac:picMkLst>
            <pc:docMk/>
            <pc:sldMk cId="3696591219" sldId="289"/>
            <ac:picMk id="13" creationId="{CA150DAC-46EE-AF54-6681-BC8F83C9E036}"/>
          </ac:picMkLst>
        </pc:picChg>
      </pc:sldChg>
      <pc:sldChg chg="addSp delSp modSp mod">
        <pc:chgData name="Jivani, Yash" userId="d3219360-dc34-4c5d-aaa0-47f172547215" providerId="ADAL" clId="{4734F14E-700E-43BE-8802-134898EA49E2}" dt="2023-03-08T20:19:51.728" v="6673" actId="14100"/>
        <pc:sldMkLst>
          <pc:docMk/>
          <pc:sldMk cId="97751420" sldId="290"/>
        </pc:sldMkLst>
        <pc:spChg chg="add mod">
          <ac:chgData name="Jivani, Yash" userId="d3219360-dc34-4c5d-aaa0-47f172547215" providerId="ADAL" clId="{4734F14E-700E-43BE-8802-134898EA49E2}" dt="2023-03-08T18:16:42.891" v="3550"/>
          <ac:spMkLst>
            <pc:docMk/>
            <pc:sldMk cId="97751420" sldId="290"/>
            <ac:spMk id="2" creationId="{6DB8006E-BAA0-94CE-EFDD-0B2DD977A9B2}"/>
          </ac:spMkLst>
        </pc:spChg>
        <pc:spChg chg="del mod">
          <ac:chgData name="Jivani, Yash" userId="d3219360-dc34-4c5d-aaa0-47f172547215" providerId="ADAL" clId="{4734F14E-700E-43BE-8802-134898EA49E2}" dt="2023-03-08T20:07:12.150" v="6510" actId="478"/>
          <ac:spMkLst>
            <pc:docMk/>
            <pc:sldMk cId="97751420" sldId="290"/>
            <ac:spMk id="3" creationId="{80DCBFB5-AC56-78AD-C512-AF5101E605AA}"/>
          </ac:spMkLst>
        </pc:spChg>
        <pc:spChg chg="del">
          <ac:chgData name="Jivani, Yash" userId="d3219360-dc34-4c5d-aaa0-47f172547215" providerId="ADAL" clId="{4734F14E-700E-43BE-8802-134898EA49E2}" dt="2023-03-08T18:16:42.670" v="3549" actId="478"/>
          <ac:spMkLst>
            <pc:docMk/>
            <pc:sldMk cId="97751420" sldId="290"/>
            <ac:spMk id="5" creationId="{1F9D369E-9E0A-F787-5B64-F68E7416251C}"/>
          </ac:spMkLst>
        </pc:spChg>
        <pc:spChg chg="add mod">
          <ac:chgData name="Jivani, Yash" userId="d3219360-dc34-4c5d-aaa0-47f172547215" providerId="ADAL" clId="{4734F14E-700E-43BE-8802-134898EA49E2}" dt="2023-03-08T20:07:12.434" v="6511"/>
          <ac:spMkLst>
            <pc:docMk/>
            <pc:sldMk cId="97751420" sldId="290"/>
            <ac:spMk id="8" creationId="{2036C5BC-15B0-8BC2-DFC9-E67B96B7024D}"/>
          </ac:spMkLst>
        </pc:spChg>
        <pc:picChg chg="mod">
          <ac:chgData name="Jivani, Yash" userId="d3219360-dc34-4c5d-aaa0-47f172547215" providerId="ADAL" clId="{4734F14E-700E-43BE-8802-134898EA49E2}" dt="2023-03-08T20:19:51.728" v="6673" actId="14100"/>
          <ac:picMkLst>
            <pc:docMk/>
            <pc:sldMk cId="97751420" sldId="290"/>
            <ac:picMk id="4" creationId="{4315E4F8-713D-FA0F-BB75-5A2E22A714AB}"/>
          </ac:picMkLst>
        </pc:picChg>
      </pc:sldChg>
      <pc:sldChg chg="addSp delSp modSp mod">
        <pc:chgData name="Jivani, Yash" userId="d3219360-dc34-4c5d-aaa0-47f172547215" providerId="ADAL" clId="{4734F14E-700E-43BE-8802-134898EA49E2}" dt="2023-03-08T20:34:15.618" v="6724" actId="14100"/>
        <pc:sldMkLst>
          <pc:docMk/>
          <pc:sldMk cId="2072078692" sldId="291"/>
        </pc:sldMkLst>
        <pc:spChg chg="add mod">
          <ac:chgData name="Jivani, Yash" userId="d3219360-dc34-4c5d-aaa0-47f172547215" providerId="ADAL" clId="{4734F14E-700E-43BE-8802-134898EA49E2}" dt="2023-03-08T18:16:46.917" v="3552"/>
          <ac:spMkLst>
            <pc:docMk/>
            <pc:sldMk cId="2072078692" sldId="291"/>
            <ac:spMk id="2" creationId="{D43DB29B-2035-C089-F102-F1C96DE9CB11}"/>
          </ac:spMkLst>
        </pc:spChg>
        <pc:spChg chg="del">
          <ac:chgData name="Jivani, Yash" userId="d3219360-dc34-4c5d-aaa0-47f172547215" providerId="ADAL" clId="{4734F14E-700E-43BE-8802-134898EA49E2}" dt="2023-03-08T20:07:30.357" v="6512" actId="478"/>
          <ac:spMkLst>
            <pc:docMk/>
            <pc:sldMk cId="2072078692" sldId="291"/>
            <ac:spMk id="4" creationId="{E095446E-31E2-A7E0-AB37-99A30453A922}"/>
          </ac:spMkLst>
        </pc:spChg>
        <pc:spChg chg="del">
          <ac:chgData name="Jivani, Yash" userId="d3219360-dc34-4c5d-aaa0-47f172547215" providerId="ADAL" clId="{4734F14E-700E-43BE-8802-134898EA49E2}" dt="2023-03-08T18:16:46.730" v="3551" actId="478"/>
          <ac:spMkLst>
            <pc:docMk/>
            <pc:sldMk cId="2072078692" sldId="291"/>
            <ac:spMk id="5" creationId="{1F9D369E-9E0A-F787-5B64-F68E7416251C}"/>
          </ac:spMkLst>
        </pc:spChg>
        <pc:spChg chg="add mod">
          <ac:chgData name="Jivani, Yash" userId="d3219360-dc34-4c5d-aaa0-47f172547215" providerId="ADAL" clId="{4734F14E-700E-43BE-8802-134898EA49E2}" dt="2023-03-08T20:07:32.779" v="6513"/>
          <ac:spMkLst>
            <pc:docMk/>
            <pc:sldMk cId="2072078692" sldId="291"/>
            <ac:spMk id="7" creationId="{9CE900A1-5FAE-A4A5-DA38-F8EB6CE40DE0}"/>
          </ac:spMkLst>
        </pc:spChg>
        <pc:picChg chg="mod">
          <ac:chgData name="Jivani, Yash" userId="d3219360-dc34-4c5d-aaa0-47f172547215" providerId="ADAL" clId="{4734F14E-700E-43BE-8802-134898EA49E2}" dt="2023-03-08T20:34:15.618" v="6724" actId="14100"/>
          <ac:picMkLst>
            <pc:docMk/>
            <pc:sldMk cId="2072078692" sldId="291"/>
            <ac:picMk id="3" creationId="{E81701C9-1A6D-C71F-14C1-DA5A3BEDDECF}"/>
          </ac:picMkLst>
        </pc:picChg>
      </pc:sldChg>
      <pc:sldChg chg="addSp delSp modSp del mod">
        <pc:chgData name="Jivani, Yash" userId="d3219360-dc34-4c5d-aaa0-47f172547215" providerId="ADAL" clId="{4734F14E-700E-43BE-8802-134898EA49E2}" dt="2023-03-08T17:31:43.801" v="1236" actId="47"/>
        <pc:sldMkLst>
          <pc:docMk/>
          <pc:sldMk cId="1361408607" sldId="292"/>
        </pc:sldMkLst>
        <pc:spChg chg="mod">
          <ac:chgData name="Jivani, Yash" userId="d3219360-dc34-4c5d-aaa0-47f172547215" providerId="ADAL" clId="{4734F14E-700E-43BE-8802-134898EA49E2}" dt="2023-03-08T17:19:13.825" v="871" actId="948"/>
          <ac:spMkLst>
            <pc:docMk/>
            <pc:sldMk cId="1361408607" sldId="292"/>
            <ac:spMk id="2" creationId="{47DD7C64-B7C2-4BF1-8389-3756984C6523}"/>
          </ac:spMkLst>
        </pc:spChg>
        <pc:spChg chg="add del mod modVis">
          <ac:chgData name="Jivani, Yash" userId="d3219360-dc34-4c5d-aaa0-47f172547215" providerId="ADAL" clId="{4734F14E-700E-43BE-8802-134898EA49E2}" dt="2023-03-08T17:19:13.841" v="912"/>
          <ac:spMkLst>
            <pc:docMk/>
            <pc:sldMk cId="1361408607" sldId="292"/>
            <ac:spMk id="3" creationId="{6A8A384E-98ED-0B46-FAB2-6275A7F763C8}"/>
          </ac:spMkLst>
        </pc:spChg>
        <pc:spChg chg="mod">
          <ac:chgData name="Jivani, Yash" userId="d3219360-dc34-4c5d-aaa0-47f172547215" providerId="ADAL" clId="{4734F14E-700E-43BE-8802-134898EA49E2}" dt="2023-03-08T17:19:09.450" v="869" actId="5793"/>
          <ac:spMkLst>
            <pc:docMk/>
            <pc:sldMk cId="1361408607" sldId="292"/>
            <ac:spMk id="23" creationId="{8BA30342-1E9F-FF19-516E-88B059697A00}"/>
          </ac:spMkLst>
        </pc:spChg>
        <pc:graphicFrameChg chg="mod">
          <ac:chgData name="Jivani, Yash" userId="d3219360-dc34-4c5d-aaa0-47f172547215" providerId="ADAL" clId="{4734F14E-700E-43BE-8802-134898EA49E2}" dt="2023-03-08T17:19:13.841" v="914"/>
          <ac:graphicFrameMkLst>
            <pc:docMk/>
            <pc:sldMk cId="1361408607" sldId="292"/>
            <ac:graphicFrameMk id="4" creationId="{5F225C0E-88FD-3F56-DFCD-6B61AD1DEA44}"/>
          </ac:graphicFrameMkLst>
        </pc:graphicFrameChg>
      </pc:sldChg>
      <pc:sldChg chg="addSp delSp modSp del mod">
        <pc:chgData name="Jivani, Yash" userId="d3219360-dc34-4c5d-aaa0-47f172547215" providerId="ADAL" clId="{4734F14E-700E-43BE-8802-134898EA49E2}" dt="2023-03-08T19:21:42.824" v="6405" actId="47"/>
        <pc:sldMkLst>
          <pc:docMk/>
          <pc:sldMk cId="2499868533" sldId="293"/>
        </pc:sldMkLst>
        <pc:spChg chg="mod">
          <ac:chgData name="Jivani, Yash" userId="d3219360-dc34-4c5d-aaa0-47f172547215" providerId="ADAL" clId="{4734F14E-700E-43BE-8802-134898EA49E2}" dt="2023-03-08T17:57:05.548" v="2294" actId="948"/>
          <ac:spMkLst>
            <pc:docMk/>
            <pc:sldMk cId="2499868533" sldId="293"/>
            <ac:spMk id="2" creationId="{47DD7C64-B7C2-4BF1-8389-3756984C6523}"/>
          </ac:spMkLst>
        </pc:spChg>
        <pc:spChg chg="add del mod modVis">
          <ac:chgData name="Jivani, Yash" userId="d3219360-dc34-4c5d-aaa0-47f172547215" providerId="ADAL" clId="{4734F14E-700E-43BE-8802-134898EA49E2}" dt="2023-03-08T17:56:58.958" v="2290" actId="478"/>
          <ac:spMkLst>
            <pc:docMk/>
            <pc:sldMk cId="2499868533" sldId="293"/>
            <ac:spMk id="3" creationId="{574400DE-FA72-8A5D-835E-BC1E62113FD2}"/>
          </ac:spMkLst>
        </pc:spChg>
        <pc:spChg chg="add del mod modVis">
          <ac:chgData name="Jivani, Yash" userId="d3219360-dc34-4c5d-aaa0-47f172547215" providerId="ADAL" clId="{4734F14E-700E-43BE-8802-134898EA49E2}" dt="2023-03-08T17:56:48.217" v="2018" actId="962"/>
          <ac:spMkLst>
            <pc:docMk/>
            <pc:sldMk cId="2499868533" sldId="293"/>
            <ac:spMk id="5" creationId="{7DA06E07-93FC-A4E6-7BB9-F7CBA7C5C0E4}"/>
          </ac:spMkLst>
        </pc:spChg>
        <pc:spChg chg="add del mod modVis">
          <ac:chgData name="Jivani, Yash" userId="d3219360-dc34-4c5d-aaa0-47f172547215" providerId="ADAL" clId="{4734F14E-700E-43BE-8802-134898EA49E2}" dt="2023-03-08T17:56:47.047" v="1962" actId="962"/>
          <ac:spMkLst>
            <pc:docMk/>
            <pc:sldMk cId="2499868533" sldId="293"/>
            <ac:spMk id="6" creationId="{160016F9-FFA0-8CB2-6348-FF3798BCC0B6}"/>
          </ac:spMkLst>
        </pc:spChg>
        <pc:spChg chg="add del mod modVis">
          <ac:chgData name="Jivani, Yash" userId="d3219360-dc34-4c5d-aaa0-47f172547215" providerId="ADAL" clId="{4734F14E-700E-43BE-8802-134898EA49E2}" dt="2023-03-08T17:56:54.584" v="2109" actId="962"/>
          <ac:spMkLst>
            <pc:docMk/>
            <pc:sldMk cId="2499868533" sldId="293"/>
            <ac:spMk id="7" creationId="{19DA3E64-68E6-1C7F-06F8-220B06FADA3D}"/>
          </ac:spMkLst>
        </pc:spChg>
        <pc:spChg chg="add del mod modVis">
          <ac:chgData name="Jivani, Yash" userId="d3219360-dc34-4c5d-aaa0-47f172547215" providerId="ADAL" clId="{4734F14E-700E-43BE-8802-134898EA49E2}" dt="2023-03-08T17:56:56.620" v="2195" actId="962"/>
          <ac:spMkLst>
            <pc:docMk/>
            <pc:sldMk cId="2499868533" sldId="293"/>
            <ac:spMk id="8" creationId="{48A87B2D-3B4B-FE97-100D-28FC5B3965FD}"/>
          </ac:spMkLst>
        </pc:spChg>
        <pc:spChg chg="add del mod modVis">
          <ac:chgData name="Jivani, Yash" userId="d3219360-dc34-4c5d-aaa0-47f172547215" providerId="ADAL" clId="{4734F14E-700E-43BE-8802-134898EA49E2}" dt="2023-03-08T17:57:05.579" v="2335"/>
          <ac:spMkLst>
            <pc:docMk/>
            <pc:sldMk cId="2499868533" sldId="293"/>
            <ac:spMk id="9" creationId="{679E315F-DFEB-C441-1F0F-9AA318708D02}"/>
          </ac:spMkLst>
        </pc:spChg>
        <pc:spChg chg="mod">
          <ac:chgData name="Jivani, Yash" userId="d3219360-dc34-4c5d-aaa0-47f172547215" providerId="ADAL" clId="{4734F14E-700E-43BE-8802-134898EA49E2}" dt="2023-03-08T19:21:32.474" v="6401" actId="27636"/>
          <ac:spMkLst>
            <pc:docMk/>
            <pc:sldMk cId="2499868533" sldId="293"/>
            <ac:spMk id="21" creationId="{0B365E4F-B071-36F7-C209-7B17EC66386B}"/>
          </ac:spMkLst>
        </pc:spChg>
        <pc:graphicFrameChg chg="mod">
          <ac:chgData name="Jivani, Yash" userId="d3219360-dc34-4c5d-aaa0-47f172547215" providerId="ADAL" clId="{4734F14E-700E-43BE-8802-134898EA49E2}" dt="2023-03-08T17:57:05.581" v="2337"/>
          <ac:graphicFrameMkLst>
            <pc:docMk/>
            <pc:sldMk cId="2499868533" sldId="293"/>
            <ac:graphicFrameMk id="4" creationId="{5F225C0E-88FD-3F56-DFCD-6B61AD1DEA44}"/>
          </ac:graphicFrameMkLst>
        </pc:graphicFrameChg>
      </pc:sldChg>
      <pc:sldChg chg="addSp modSp">
        <pc:chgData name="Jivani, Yash" userId="d3219360-dc34-4c5d-aaa0-47f172547215" providerId="ADAL" clId="{4734F14E-700E-43BE-8802-134898EA49E2}" dt="2023-03-09T01:14:58.648" v="7589"/>
        <pc:sldMkLst>
          <pc:docMk/>
          <pc:sldMk cId="2281027140" sldId="294"/>
        </pc:sldMkLst>
        <pc:spChg chg="mod">
          <ac:chgData name="Jivani, Yash" userId="d3219360-dc34-4c5d-aaa0-47f172547215" providerId="ADAL" clId="{4734F14E-700E-43BE-8802-134898EA49E2}" dt="2023-03-08T21:44:34.640" v="7275"/>
          <ac:spMkLst>
            <pc:docMk/>
            <pc:sldMk cId="2281027140" sldId="294"/>
            <ac:spMk id="2" creationId="{A603228A-B5D2-E5E9-809A-EAAA738AA46B}"/>
          </ac:spMkLst>
        </pc:spChg>
        <pc:spChg chg="add mod">
          <ac:chgData name="Jivani, Yash" userId="d3219360-dc34-4c5d-aaa0-47f172547215" providerId="ADAL" clId="{4734F14E-700E-43BE-8802-134898EA49E2}" dt="2023-03-09T01:14:58.648" v="7589"/>
          <ac:spMkLst>
            <pc:docMk/>
            <pc:sldMk cId="2281027140" sldId="294"/>
            <ac:spMk id="3" creationId="{BAA69975-FF2C-DC9A-A41C-7F00706A83BA}"/>
          </ac:spMkLst>
        </pc:spChg>
      </pc:sldChg>
      <pc:sldChg chg="addSp delSp modSp mod">
        <pc:chgData name="Jivani, Yash" userId="d3219360-dc34-4c5d-aaa0-47f172547215" providerId="ADAL" clId="{4734F14E-700E-43BE-8802-134898EA49E2}" dt="2023-03-09T01:15:00.251" v="7590"/>
        <pc:sldMkLst>
          <pc:docMk/>
          <pc:sldMk cId="1047219928" sldId="295"/>
        </pc:sldMkLst>
        <pc:spChg chg="mod">
          <ac:chgData name="Jivani, Yash" userId="d3219360-dc34-4c5d-aaa0-47f172547215" providerId="ADAL" clId="{4734F14E-700E-43BE-8802-134898EA49E2}" dt="2023-03-08T21:44:35.147" v="7277" actId="948"/>
          <ac:spMkLst>
            <pc:docMk/>
            <pc:sldMk cId="1047219928" sldId="295"/>
            <ac:spMk id="2" creationId="{11DFA059-8D7C-9222-CDD8-A58126FA06EC}"/>
          </ac:spMkLst>
        </pc:spChg>
        <pc:spChg chg="mod">
          <ac:chgData name="Jivani, Yash" userId="d3219360-dc34-4c5d-aaa0-47f172547215" providerId="ADAL" clId="{4734F14E-700E-43BE-8802-134898EA49E2}" dt="2023-03-08T21:44:34.640" v="7275"/>
          <ac:spMkLst>
            <pc:docMk/>
            <pc:sldMk cId="1047219928" sldId="295"/>
            <ac:spMk id="3" creationId="{9C158126-707B-46C0-4949-BB3DB6451E95}"/>
          </ac:spMkLst>
        </pc:spChg>
        <pc:spChg chg="add mod">
          <ac:chgData name="Jivani, Yash" userId="d3219360-dc34-4c5d-aaa0-47f172547215" providerId="ADAL" clId="{4734F14E-700E-43BE-8802-134898EA49E2}" dt="2023-03-09T01:15:00.251" v="7590"/>
          <ac:spMkLst>
            <pc:docMk/>
            <pc:sldMk cId="1047219928" sldId="295"/>
            <ac:spMk id="5" creationId="{0A295C8E-E54A-A200-67A4-BB841BE8E517}"/>
          </ac:spMkLst>
        </pc:spChg>
        <pc:spChg chg="add del mod modVis">
          <ac:chgData name="Jivani, Yash" userId="d3219360-dc34-4c5d-aaa0-47f172547215" providerId="ADAL" clId="{4734F14E-700E-43BE-8802-134898EA49E2}" dt="2023-03-08T21:44:35.185" v="7320"/>
          <ac:spMkLst>
            <pc:docMk/>
            <pc:sldMk cId="1047219928" sldId="295"/>
            <ac:spMk id="5" creationId="{FC3724C5-6861-A81C-5796-9CEC253DB3E3}"/>
          </ac:spMkLst>
        </pc:spChg>
        <pc:graphicFrameChg chg="add mod ord modVis replST">
          <ac:chgData name="Jivani, Yash" userId="d3219360-dc34-4c5d-aaa0-47f172547215" providerId="ADAL" clId="{4734F14E-700E-43BE-8802-134898EA49E2}" dt="2023-03-08T21:44:35.204" v="7336"/>
          <ac:graphicFrameMkLst>
            <pc:docMk/>
            <pc:sldMk cId="1047219928" sldId="295"/>
            <ac:graphicFrameMk id="7" creationId="{CFB0838F-3A98-E489-22C1-D8CDE41844FA}"/>
          </ac:graphicFrameMkLst>
        </pc:graphicFrameChg>
      </pc:sldChg>
      <pc:sldChg chg="addSp modSp ord">
        <pc:chgData name="Jivani, Yash" userId="d3219360-dc34-4c5d-aaa0-47f172547215" providerId="ADAL" clId="{4734F14E-700E-43BE-8802-134898EA49E2}" dt="2023-03-09T01:15:01.360" v="7591"/>
        <pc:sldMkLst>
          <pc:docMk/>
          <pc:sldMk cId="1582700825" sldId="296"/>
        </pc:sldMkLst>
        <pc:spChg chg="mod">
          <ac:chgData name="Jivani, Yash" userId="d3219360-dc34-4c5d-aaa0-47f172547215" providerId="ADAL" clId="{4734F14E-700E-43BE-8802-134898EA49E2}" dt="2023-03-08T21:44:34.640" v="7275"/>
          <ac:spMkLst>
            <pc:docMk/>
            <pc:sldMk cId="1582700825" sldId="296"/>
            <ac:spMk id="2" creationId="{BC860338-5F94-04CB-BF48-E417AE45480B}"/>
          </ac:spMkLst>
        </pc:spChg>
        <pc:spChg chg="add mod">
          <ac:chgData name="Jivani, Yash" userId="d3219360-dc34-4c5d-aaa0-47f172547215" providerId="ADAL" clId="{4734F14E-700E-43BE-8802-134898EA49E2}" dt="2023-03-09T01:15:01.360" v="7591"/>
          <ac:spMkLst>
            <pc:docMk/>
            <pc:sldMk cId="1582700825" sldId="296"/>
            <ac:spMk id="3" creationId="{CF532178-476E-EB6C-9BB9-757130A79F19}"/>
          </ac:spMkLst>
        </pc:spChg>
      </pc:sldChg>
      <pc:sldChg chg="addSp delSp modSp mod">
        <pc:chgData name="Jivani, Yash" userId="d3219360-dc34-4c5d-aaa0-47f172547215" providerId="ADAL" clId="{4734F14E-700E-43BE-8802-134898EA49E2}" dt="2023-03-09T00:08:07.270" v="7421"/>
        <pc:sldMkLst>
          <pc:docMk/>
          <pc:sldMk cId="2534075813" sldId="297"/>
        </pc:sldMkLst>
        <pc:spChg chg="mod">
          <ac:chgData name="Jivani, Yash" userId="d3219360-dc34-4c5d-aaa0-47f172547215" providerId="ADAL" clId="{4734F14E-700E-43BE-8802-134898EA49E2}" dt="2023-03-09T00:08:07.232" v="7378" actId="948"/>
          <ac:spMkLst>
            <pc:docMk/>
            <pc:sldMk cId="2534075813" sldId="297"/>
            <ac:spMk id="2" creationId="{AAFAF4D0-80A4-413A-5813-E1FDD868B59A}"/>
          </ac:spMkLst>
        </pc:spChg>
        <pc:spChg chg="mod">
          <ac:chgData name="Jivani, Yash" userId="d3219360-dc34-4c5d-aaa0-47f172547215" providerId="ADAL" clId="{4734F14E-700E-43BE-8802-134898EA49E2}" dt="2023-03-08T22:54:05.367" v="7366" actId="1076"/>
          <ac:spMkLst>
            <pc:docMk/>
            <pc:sldMk cId="2534075813" sldId="297"/>
            <ac:spMk id="3" creationId="{B50CDF01-8E52-A0CA-8DE0-2A7BDC534F94}"/>
          </ac:spMkLst>
        </pc:spChg>
        <pc:spChg chg="add del mod modVis">
          <ac:chgData name="Jivani, Yash" userId="d3219360-dc34-4c5d-aaa0-47f172547215" providerId="ADAL" clId="{4734F14E-700E-43BE-8802-134898EA49E2}" dt="2023-03-08T17:51:46.078" v="1576"/>
          <ac:spMkLst>
            <pc:docMk/>
            <pc:sldMk cId="2534075813" sldId="297"/>
            <ac:spMk id="4" creationId="{2CFD29F0-7D43-F800-F26E-C5AD5591219C}"/>
          </ac:spMkLst>
        </pc:spChg>
        <pc:spChg chg="add del mod modVis">
          <ac:chgData name="Jivani, Yash" userId="d3219360-dc34-4c5d-aaa0-47f172547215" providerId="ADAL" clId="{4734F14E-700E-43BE-8802-134898EA49E2}" dt="2023-03-09T00:08:07.268" v="7419"/>
          <ac:spMkLst>
            <pc:docMk/>
            <pc:sldMk cId="2534075813" sldId="297"/>
            <ac:spMk id="4" creationId="{F00FCC28-8FE8-501B-2F43-277613AE1266}"/>
          </ac:spMkLst>
        </pc:spChg>
        <pc:spChg chg="add mod">
          <ac:chgData name="Jivani, Yash" userId="d3219360-dc34-4c5d-aaa0-47f172547215" providerId="ADAL" clId="{4734F14E-700E-43BE-8802-134898EA49E2}" dt="2023-03-08T18:55:34.863" v="6151"/>
          <ac:spMkLst>
            <pc:docMk/>
            <pc:sldMk cId="2534075813" sldId="297"/>
            <ac:spMk id="6" creationId="{85242469-7332-3B15-7B60-69EAA77F818A}"/>
          </ac:spMkLst>
        </pc:spChg>
        <pc:graphicFrameChg chg="add mod ord modVis replST">
          <ac:chgData name="Jivani, Yash" userId="d3219360-dc34-4c5d-aaa0-47f172547215" providerId="ADAL" clId="{4734F14E-700E-43BE-8802-134898EA49E2}" dt="2023-03-09T00:08:07.270" v="7421"/>
          <ac:graphicFrameMkLst>
            <pc:docMk/>
            <pc:sldMk cId="2534075813" sldId="297"/>
            <ac:graphicFrameMk id="5" creationId="{91C1E032-01AE-C63B-26D4-B40B00EFDB59}"/>
          </ac:graphicFrameMkLst>
        </pc:graphicFrameChg>
        <pc:picChg chg="mod">
          <ac:chgData name="Jivani, Yash" userId="d3219360-dc34-4c5d-aaa0-47f172547215" providerId="ADAL" clId="{4734F14E-700E-43BE-8802-134898EA49E2}" dt="2023-03-08T18:18:40.599" v="3567" actId="14100"/>
          <ac:picMkLst>
            <pc:docMk/>
            <pc:sldMk cId="2534075813" sldId="297"/>
            <ac:picMk id="2050" creationId="{8B4511D7-B184-2DD5-D046-6234DFBD7ED9}"/>
          </ac:picMkLst>
        </pc:picChg>
      </pc:sldChg>
      <pc:sldChg chg="addSp delSp modSp mod">
        <pc:chgData name="Jivani, Yash" userId="d3219360-dc34-4c5d-aaa0-47f172547215" providerId="ADAL" clId="{4734F14E-700E-43BE-8802-134898EA49E2}" dt="2023-03-08T21:43:56.414" v="7274" actId="20577"/>
        <pc:sldMkLst>
          <pc:docMk/>
          <pc:sldMk cId="1662107885" sldId="298"/>
        </pc:sldMkLst>
        <pc:spChg chg="mod">
          <ac:chgData name="Jivani, Yash" userId="d3219360-dc34-4c5d-aaa0-47f172547215" providerId="ADAL" clId="{4734F14E-700E-43BE-8802-134898EA49E2}" dt="2023-03-08T17:06:00.330" v="733" actId="948"/>
          <ac:spMkLst>
            <pc:docMk/>
            <pc:sldMk cId="1662107885" sldId="298"/>
            <ac:spMk id="2" creationId="{64FAC15D-948C-A764-6C70-7ABA9ABC63F7}"/>
          </ac:spMkLst>
        </pc:spChg>
        <pc:spChg chg="mod">
          <ac:chgData name="Jivani, Yash" userId="d3219360-dc34-4c5d-aaa0-47f172547215" providerId="ADAL" clId="{4734F14E-700E-43BE-8802-134898EA49E2}" dt="2023-03-08T21:43:56.414" v="7274" actId="20577"/>
          <ac:spMkLst>
            <pc:docMk/>
            <pc:sldMk cId="1662107885" sldId="298"/>
            <ac:spMk id="3" creationId="{D4C0648C-FC56-25E5-68A8-79D86091D038}"/>
          </ac:spMkLst>
        </pc:spChg>
        <pc:spChg chg="add del mod modVis">
          <ac:chgData name="Jivani, Yash" userId="d3219360-dc34-4c5d-aaa0-47f172547215" providerId="ADAL" clId="{4734F14E-700E-43BE-8802-134898EA49E2}" dt="2023-03-08T17:05:32.119" v="672"/>
          <ac:spMkLst>
            <pc:docMk/>
            <pc:sldMk cId="1662107885" sldId="298"/>
            <ac:spMk id="6" creationId="{442138BC-AD8A-FAE5-A935-A81FD3C3DCE6}"/>
          </ac:spMkLst>
        </pc:spChg>
        <pc:spChg chg="add del mod modVis">
          <ac:chgData name="Jivani, Yash" userId="d3219360-dc34-4c5d-aaa0-47f172547215" providerId="ADAL" clId="{4734F14E-700E-43BE-8802-134898EA49E2}" dt="2023-03-08T17:05:53.620" v="730"/>
          <ac:spMkLst>
            <pc:docMk/>
            <pc:sldMk cId="1662107885" sldId="298"/>
            <ac:spMk id="8" creationId="{D49116CE-83CF-385B-C704-9977378DB621}"/>
          </ac:spMkLst>
        </pc:spChg>
        <pc:spChg chg="add del mod modVis">
          <ac:chgData name="Jivani, Yash" userId="d3219360-dc34-4c5d-aaa0-47f172547215" providerId="ADAL" clId="{4734F14E-700E-43BE-8802-134898EA49E2}" dt="2023-03-08T17:06:00.424" v="774"/>
          <ac:spMkLst>
            <pc:docMk/>
            <pc:sldMk cId="1662107885" sldId="298"/>
            <ac:spMk id="9" creationId="{B83F7A50-C265-EA6B-965E-ACC6AD55849B}"/>
          </ac:spMkLst>
        </pc:spChg>
        <pc:graphicFrameChg chg="add mod ord modVis replST">
          <ac:chgData name="Jivani, Yash" userId="d3219360-dc34-4c5d-aaa0-47f172547215" providerId="ADAL" clId="{4734F14E-700E-43BE-8802-134898EA49E2}" dt="2023-03-08T17:06:00.429" v="776"/>
          <ac:graphicFrameMkLst>
            <pc:docMk/>
            <pc:sldMk cId="1662107885" sldId="298"/>
            <ac:graphicFrameMk id="7" creationId="{EBFB3B10-6CB4-C362-BA6A-418E248A5537}"/>
          </ac:graphicFrameMkLst>
        </pc:graphicFrameChg>
      </pc:sldChg>
      <pc:sldChg chg="addSp modSp">
        <pc:chgData name="Jivani, Yash" userId="d3219360-dc34-4c5d-aaa0-47f172547215" providerId="ADAL" clId="{4734F14E-700E-43BE-8802-134898EA49E2}" dt="2023-03-08T18:55:29.332" v="6149"/>
        <pc:sldMkLst>
          <pc:docMk/>
          <pc:sldMk cId="1788807025" sldId="300"/>
        </pc:sldMkLst>
        <pc:spChg chg="add mod">
          <ac:chgData name="Jivani, Yash" userId="d3219360-dc34-4c5d-aaa0-47f172547215" providerId="ADAL" clId="{4734F14E-700E-43BE-8802-134898EA49E2}" dt="2023-03-08T18:55:29.332" v="6149"/>
          <ac:spMkLst>
            <pc:docMk/>
            <pc:sldMk cId="1788807025" sldId="300"/>
            <ac:spMk id="4" creationId="{7B0ABB98-7B68-FB78-AE64-A0CEA89DDC69}"/>
          </ac:spMkLst>
        </pc:spChg>
      </pc:sldChg>
      <pc:sldChg chg="addSp delSp modSp add del mod ord">
        <pc:chgData name="Jivani, Yash" userId="d3219360-dc34-4c5d-aaa0-47f172547215" providerId="ADAL" clId="{4734F14E-700E-43BE-8802-134898EA49E2}" dt="2023-03-08T17:45:42.989" v="1434" actId="47"/>
        <pc:sldMkLst>
          <pc:docMk/>
          <pc:sldMk cId="1642910582" sldId="302"/>
        </pc:sldMkLst>
        <pc:spChg chg="add del mod">
          <ac:chgData name="Jivani, Yash" userId="d3219360-dc34-4c5d-aaa0-47f172547215" providerId="ADAL" clId="{4734F14E-700E-43BE-8802-134898EA49E2}" dt="2023-03-08T17:21:45.051" v="999" actId="948"/>
          <ac:spMkLst>
            <pc:docMk/>
            <pc:sldMk cId="1642910582" sldId="302"/>
            <ac:spMk id="2" creationId="{4E2D9FA9-D359-6F04-5A1A-37D50F2E85D9}"/>
          </ac:spMkLst>
        </pc:spChg>
        <pc:spChg chg="mod">
          <ac:chgData name="Jivani, Yash" userId="d3219360-dc34-4c5d-aaa0-47f172547215" providerId="ADAL" clId="{4734F14E-700E-43BE-8802-134898EA49E2}" dt="2023-03-08T17:23:57.937" v="1187"/>
          <ac:spMkLst>
            <pc:docMk/>
            <pc:sldMk cId="1642910582" sldId="302"/>
            <ac:spMk id="3" creationId="{A3B70E7C-5F23-B153-6F2F-B134B3F4A979}"/>
          </ac:spMkLst>
        </pc:spChg>
        <pc:spChg chg="add del mod">
          <ac:chgData name="Jivani, Yash" userId="d3219360-dc34-4c5d-aaa0-47f172547215" providerId="ADAL" clId="{4734F14E-700E-43BE-8802-134898EA49E2}" dt="2023-03-08T17:21:33.693" v="966" actId="478"/>
          <ac:spMkLst>
            <pc:docMk/>
            <pc:sldMk cId="1642910582" sldId="302"/>
            <ac:spMk id="6" creationId="{AC020850-DCAE-823F-298E-7B6AF5218CDF}"/>
          </ac:spMkLst>
        </pc:spChg>
        <pc:spChg chg="add del mod modVis">
          <ac:chgData name="Jivani, Yash" userId="d3219360-dc34-4c5d-aaa0-47f172547215" providerId="ADAL" clId="{4734F14E-700E-43BE-8802-134898EA49E2}" dt="2023-03-08T17:21:45.089" v="1042"/>
          <ac:spMkLst>
            <pc:docMk/>
            <pc:sldMk cId="1642910582" sldId="302"/>
            <ac:spMk id="11" creationId="{6FD68540-7A66-E1E8-9F1D-53256CA30482}"/>
          </ac:spMkLst>
        </pc:spChg>
        <pc:graphicFrameChg chg="add mod ord modVis replST delST">
          <ac:chgData name="Jivani, Yash" userId="d3219360-dc34-4c5d-aaa0-47f172547215" providerId="ADAL" clId="{4734F14E-700E-43BE-8802-134898EA49E2}" dt="2023-03-08T17:21:33.685" v="963" actId="14100"/>
          <ac:graphicFrameMkLst>
            <pc:docMk/>
            <pc:sldMk cId="1642910582" sldId="302"/>
            <ac:graphicFrameMk id="7" creationId="{6F99B026-9781-E4A1-1798-B02F77AE7669}"/>
          </ac:graphicFrameMkLst>
        </pc:graphicFrameChg>
        <pc:graphicFrameChg chg="add del mod ord modVis replST">
          <ac:chgData name="Jivani, Yash" userId="d3219360-dc34-4c5d-aaa0-47f172547215" providerId="ADAL" clId="{4734F14E-700E-43BE-8802-134898EA49E2}" dt="2023-03-08T17:21:45.088" v="1038"/>
          <ac:graphicFrameMkLst>
            <pc:docMk/>
            <pc:sldMk cId="1642910582" sldId="302"/>
            <ac:graphicFrameMk id="8" creationId="{6F0F48C2-4AE0-2026-B0E1-2B5183A896AC}"/>
          </ac:graphicFrameMkLst>
        </pc:graphicFrameChg>
        <pc:graphicFrameChg chg="add mod ord modVis replST">
          <ac:chgData name="Jivani, Yash" userId="d3219360-dc34-4c5d-aaa0-47f172547215" providerId="ADAL" clId="{4734F14E-700E-43BE-8802-134898EA49E2}" dt="2023-03-08T17:21:45.091" v="1044"/>
          <ac:graphicFrameMkLst>
            <pc:docMk/>
            <pc:sldMk cId="1642910582" sldId="302"/>
            <ac:graphicFrameMk id="10" creationId="{56ED6345-F6BC-3095-82CE-C7EF6D010E69}"/>
          </ac:graphicFrameMkLst>
        </pc:graphicFrameChg>
        <pc:picChg chg="del">
          <ac:chgData name="Jivani, Yash" userId="d3219360-dc34-4c5d-aaa0-47f172547215" providerId="ADAL" clId="{4734F14E-700E-43BE-8802-134898EA49E2}" dt="2023-03-08T17:21:09.131" v="919" actId="478"/>
          <ac:picMkLst>
            <pc:docMk/>
            <pc:sldMk cId="1642910582" sldId="302"/>
            <ac:picMk id="5" creationId="{2E98F804-7492-7F44-2DC8-7EF038499ED9}"/>
          </ac:picMkLst>
        </pc:picChg>
        <pc:picChg chg="add del mod">
          <ac:chgData name="Jivani, Yash" userId="d3219360-dc34-4c5d-aaa0-47f172547215" providerId="ADAL" clId="{4734F14E-700E-43BE-8802-134898EA49E2}" dt="2023-03-08T17:29:21.268" v="1235" actId="14100"/>
          <ac:picMkLst>
            <pc:docMk/>
            <pc:sldMk cId="1642910582" sldId="302"/>
            <ac:picMk id="1026" creationId="{364F4BFF-529A-9EAC-91A3-41650ADDA0CC}"/>
          </ac:picMkLst>
        </pc:picChg>
        <pc:picChg chg="add del">
          <ac:chgData name="Jivani, Yash" userId="d3219360-dc34-4c5d-aaa0-47f172547215" providerId="ADAL" clId="{4734F14E-700E-43BE-8802-134898EA49E2}" dt="2023-03-08T17:23:52.858" v="1186"/>
          <ac:picMkLst>
            <pc:docMk/>
            <pc:sldMk cId="1642910582" sldId="302"/>
            <ac:picMk id="1028" creationId="{8F539385-0C61-33A7-040F-41110C54DD8C}"/>
          </ac:picMkLst>
        </pc:picChg>
      </pc:sldChg>
      <pc:sldChg chg="addSp delSp modSp new add del mod setBg">
        <pc:chgData name="Jivani, Yash" userId="d3219360-dc34-4c5d-aaa0-47f172547215" providerId="ADAL" clId="{4734F14E-700E-43BE-8802-134898EA49E2}" dt="2023-03-08T17:39:16.241" v="1398" actId="47"/>
        <pc:sldMkLst>
          <pc:docMk/>
          <pc:sldMk cId="2648170330" sldId="303"/>
        </pc:sldMkLst>
        <pc:spChg chg="add del mod">
          <ac:chgData name="Jivani, Yash" userId="d3219360-dc34-4c5d-aaa0-47f172547215" providerId="ADAL" clId="{4734F14E-700E-43BE-8802-134898EA49E2}" dt="2023-03-08T17:26:15.024" v="1234" actId="478"/>
          <ac:spMkLst>
            <pc:docMk/>
            <pc:sldMk cId="2648170330" sldId="303"/>
            <ac:spMk id="2" creationId="{1FDB41F7-A334-23A6-904B-D54D33C393BD}"/>
          </ac:spMkLst>
        </pc:spChg>
        <pc:spChg chg="mod">
          <ac:chgData name="Jivani, Yash" userId="d3219360-dc34-4c5d-aaa0-47f172547215" providerId="ADAL" clId="{4734F14E-700E-43BE-8802-134898EA49E2}" dt="2023-03-08T17:26:14.487" v="1230" actId="14100"/>
          <ac:spMkLst>
            <pc:docMk/>
            <pc:sldMk cId="2648170330" sldId="303"/>
            <ac:spMk id="3" creationId="{02A2A6C3-9B49-3782-F02C-87359938FFD9}"/>
          </ac:spMkLst>
        </pc:spChg>
        <pc:spChg chg="add del mod">
          <ac:chgData name="Jivani, Yash" userId="d3219360-dc34-4c5d-aaa0-47f172547215" providerId="ADAL" clId="{4734F14E-700E-43BE-8802-134898EA49E2}" dt="2023-03-08T17:25:29.249" v="1192" actId="26606"/>
          <ac:spMkLst>
            <pc:docMk/>
            <pc:sldMk cId="2648170330" sldId="303"/>
            <ac:spMk id="5" creationId="{56BC97B1-05A3-08E3-9643-B096F215A82F}"/>
          </ac:spMkLst>
        </pc:spChg>
        <pc:spChg chg="add">
          <ac:chgData name="Jivani, Yash" userId="d3219360-dc34-4c5d-aaa0-47f172547215" providerId="ADAL" clId="{4734F14E-700E-43BE-8802-134898EA49E2}" dt="2023-03-08T17:25:29.249" v="1192" actId="26606"/>
          <ac:spMkLst>
            <pc:docMk/>
            <pc:sldMk cId="2648170330" sldId="303"/>
            <ac:spMk id="10" creationId="{0D7B6173-1D58-48E2-83CF-37350F315F75}"/>
          </ac:spMkLst>
        </pc:spChg>
        <pc:spChg chg="add">
          <ac:chgData name="Jivani, Yash" userId="d3219360-dc34-4c5d-aaa0-47f172547215" providerId="ADAL" clId="{4734F14E-700E-43BE-8802-134898EA49E2}" dt="2023-03-08T17:25:29.249" v="1192" actId="26606"/>
          <ac:spMkLst>
            <pc:docMk/>
            <pc:sldMk cId="2648170330" sldId="303"/>
            <ac:spMk id="12" creationId="{2F36CA75-CFBF-4844-B719-8FE9EBADA9AF}"/>
          </ac:spMkLst>
        </pc:spChg>
        <pc:spChg chg="add">
          <ac:chgData name="Jivani, Yash" userId="d3219360-dc34-4c5d-aaa0-47f172547215" providerId="ADAL" clId="{4734F14E-700E-43BE-8802-134898EA49E2}" dt="2023-03-08T17:25:29.249" v="1192" actId="26606"/>
          <ac:spMkLst>
            <pc:docMk/>
            <pc:sldMk cId="2648170330" sldId="303"/>
            <ac:spMk id="14" creationId="{3D4A84B9-E564-4DD0-97F8-DBF1C460C28A}"/>
          </ac:spMkLst>
        </pc:spChg>
        <pc:spChg chg="add">
          <ac:chgData name="Jivani, Yash" userId="d3219360-dc34-4c5d-aaa0-47f172547215" providerId="ADAL" clId="{4734F14E-700E-43BE-8802-134898EA49E2}" dt="2023-03-08T17:25:29.249" v="1192" actId="26606"/>
          <ac:spMkLst>
            <pc:docMk/>
            <pc:sldMk cId="2648170330" sldId="303"/>
            <ac:spMk id="16" creationId="{102382E0-0A09-46AE-B955-B911CAFE7F00}"/>
          </ac:spMkLst>
        </pc:spChg>
        <pc:spChg chg="add">
          <ac:chgData name="Jivani, Yash" userId="d3219360-dc34-4c5d-aaa0-47f172547215" providerId="ADAL" clId="{4734F14E-700E-43BE-8802-134898EA49E2}" dt="2023-03-08T17:25:29.249" v="1192" actId="26606"/>
          <ac:spMkLst>
            <pc:docMk/>
            <pc:sldMk cId="2648170330" sldId="303"/>
            <ac:spMk id="18" creationId="{7DE75D4A-0965-4973-BE75-DECCAC9A9614}"/>
          </ac:spMkLst>
        </pc:spChg>
        <pc:graphicFrameChg chg="add mod ord modVis replST">
          <ac:chgData name="Jivani, Yash" userId="d3219360-dc34-4c5d-aaa0-47f172547215" providerId="ADAL" clId="{4734F14E-700E-43BE-8802-134898EA49E2}" dt="2023-03-08T17:26:15.018" v="1231" actId="1076"/>
          <ac:graphicFrameMkLst>
            <pc:docMk/>
            <pc:sldMk cId="2648170330" sldId="303"/>
            <ac:graphicFrameMk id="6" creationId="{D24B5633-2DB8-B7F9-4716-5DE10ECA6DC0}"/>
          </ac:graphicFrameMkLst>
        </pc:graphicFrameChg>
        <pc:picChg chg="add mod ord">
          <ac:chgData name="Jivani, Yash" userId="d3219360-dc34-4c5d-aaa0-47f172547215" providerId="ADAL" clId="{4734F14E-700E-43BE-8802-134898EA49E2}" dt="2023-03-08T17:25:29.249" v="1192" actId="26606"/>
          <ac:picMkLst>
            <pc:docMk/>
            <pc:sldMk cId="2648170330" sldId="303"/>
            <ac:picMk id="4" creationId="{2550808F-9AD6-76ED-9203-E9785085C89D}"/>
          </ac:picMkLst>
        </pc:picChg>
        <pc:picChg chg="add">
          <ac:chgData name="Jivani, Yash" userId="d3219360-dc34-4c5d-aaa0-47f172547215" providerId="ADAL" clId="{4734F14E-700E-43BE-8802-134898EA49E2}" dt="2023-03-08T17:25:29.249" v="1192" actId="26606"/>
          <ac:picMkLst>
            <pc:docMk/>
            <pc:sldMk cId="2648170330" sldId="303"/>
            <ac:picMk id="20" creationId="{4A599609-F5C2-4A0B-A992-913F814A631A}"/>
          </ac:picMkLst>
        </pc:picChg>
      </pc:sldChg>
      <pc:sldChg chg="add del">
        <pc:chgData name="Jivani, Yash" userId="d3219360-dc34-4c5d-aaa0-47f172547215" providerId="ADAL" clId="{4734F14E-700E-43BE-8802-134898EA49E2}" dt="2023-03-08T17:23:38.371" v="1184" actId="47"/>
        <pc:sldMkLst>
          <pc:docMk/>
          <pc:sldMk cId="3892504336" sldId="303"/>
        </pc:sldMkLst>
      </pc:sldChg>
      <pc:sldChg chg="addSp delSp modSp mod">
        <pc:chgData name="Jivani, Yash" userId="d3219360-dc34-4c5d-aaa0-47f172547215" providerId="ADAL" clId="{4734F14E-700E-43BE-8802-134898EA49E2}" dt="2023-03-09T00:10:19.501" v="7509"/>
        <pc:sldMkLst>
          <pc:docMk/>
          <pc:sldMk cId="503225009" sldId="304"/>
        </pc:sldMkLst>
        <pc:spChg chg="mod">
          <ac:chgData name="Jivani, Yash" userId="d3219360-dc34-4c5d-aaa0-47f172547215" providerId="ADAL" clId="{4734F14E-700E-43BE-8802-134898EA49E2}" dt="2023-03-09T00:10:19.494" v="7507" actId="207"/>
          <ac:spMkLst>
            <pc:docMk/>
            <pc:sldMk cId="503225009" sldId="304"/>
            <ac:spMk id="2" creationId="{37854D7D-FA29-0135-59B8-72DCA682D6E8}"/>
          </ac:spMkLst>
        </pc:spChg>
        <pc:spChg chg="add del mod modVis">
          <ac:chgData name="Jivani, Yash" userId="d3219360-dc34-4c5d-aaa0-47f172547215" providerId="ADAL" clId="{4734F14E-700E-43BE-8802-134898EA49E2}" dt="2023-03-08T17:55:56.792" v="1703"/>
          <ac:spMkLst>
            <pc:docMk/>
            <pc:sldMk cId="503225009" sldId="304"/>
            <ac:spMk id="8" creationId="{D91CAD1E-06FE-F99F-76C8-5998C78A8E74}"/>
          </ac:spMkLst>
        </pc:spChg>
        <pc:spChg chg="add del mod modVis">
          <ac:chgData name="Jivani, Yash" userId="d3219360-dc34-4c5d-aaa0-47f172547215" providerId="ADAL" clId="{4734F14E-700E-43BE-8802-134898EA49E2}" dt="2023-03-09T00:10:19.494" v="7505" actId="962"/>
          <ac:spMkLst>
            <pc:docMk/>
            <pc:sldMk cId="503225009" sldId="304"/>
            <ac:spMk id="8" creationId="{DF09C792-B5BE-822A-912B-2DD02253628E}"/>
          </ac:spMkLst>
        </pc:spChg>
        <pc:spChg chg="add del mod modVis">
          <ac:chgData name="Jivani, Yash" userId="d3219360-dc34-4c5d-aaa0-47f172547215" providerId="ADAL" clId="{4734F14E-700E-43BE-8802-134898EA49E2}" dt="2023-03-08T17:55:59.823" v="1762"/>
          <ac:spMkLst>
            <pc:docMk/>
            <pc:sldMk cId="503225009" sldId="304"/>
            <ac:spMk id="10" creationId="{3E2E3200-070C-085B-5944-AC842568641A}"/>
          </ac:spMkLst>
        </pc:spChg>
        <pc:spChg chg="add del mod modVis">
          <ac:chgData name="Jivani, Yash" userId="d3219360-dc34-4c5d-aaa0-47f172547215" providerId="ADAL" clId="{4734F14E-700E-43BE-8802-134898EA49E2}" dt="2023-03-08T18:44:27.604" v="4403"/>
          <ac:spMkLst>
            <pc:docMk/>
            <pc:sldMk cId="503225009" sldId="304"/>
            <ac:spMk id="11" creationId="{A9F5692F-F136-DC0A-30E0-F7562E0AC09A}"/>
          </ac:spMkLst>
        </pc:spChg>
        <pc:spChg chg="add del mod modVis">
          <ac:chgData name="Jivani, Yash" userId="d3219360-dc34-4c5d-aaa0-47f172547215" providerId="ADAL" clId="{4734F14E-700E-43BE-8802-134898EA49E2}" dt="2023-03-08T18:44:28.414" v="4627"/>
          <ac:spMkLst>
            <pc:docMk/>
            <pc:sldMk cId="503225009" sldId="304"/>
            <ac:spMk id="12" creationId="{490C984A-9773-310E-EBE2-5D7EEBAD3A5C}"/>
          </ac:spMkLst>
        </pc:spChg>
        <pc:spChg chg="add del mod modVis">
          <ac:chgData name="Jivani, Yash" userId="d3219360-dc34-4c5d-aaa0-47f172547215" providerId="ADAL" clId="{4734F14E-700E-43BE-8802-134898EA49E2}" dt="2023-03-08T18:44:37.747" v="4885"/>
          <ac:spMkLst>
            <pc:docMk/>
            <pc:sldMk cId="503225009" sldId="304"/>
            <ac:spMk id="13" creationId="{22517319-5F26-B849-B34A-28FCE00A7F1E}"/>
          </ac:spMkLst>
        </pc:spChg>
        <pc:graphicFrameChg chg="add mod ord modVis replST">
          <ac:chgData name="Jivani, Yash" userId="d3219360-dc34-4c5d-aaa0-47f172547215" providerId="ADAL" clId="{4734F14E-700E-43BE-8802-134898EA49E2}" dt="2023-03-09T00:10:19.501" v="7509"/>
          <ac:graphicFrameMkLst>
            <pc:docMk/>
            <pc:sldMk cId="503225009" sldId="304"/>
            <ac:graphicFrameMk id="9" creationId="{068B06D2-0E90-1975-211B-186C89027CF8}"/>
          </ac:graphicFrameMkLst>
        </pc:graphicFrameChg>
      </pc:sldChg>
      <pc:sldChg chg="addSp delSp modSp mod delDesignElem">
        <pc:chgData name="Jivani, Yash" userId="d3219360-dc34-4c5d-aaa0-47f172547215" providerId="ADAL" clId="{4734F14E-700E-43BE-8802-134898EA49E2}" dt="2023-03-08T18:55:32.467" v="6150"/>
        <pc:sldMkLst>
          <pc:docMk/>
          <pc:sldMk cId="3985600597" sldId="305"/>
        </pc:sldMkLst>
        <pc:spChg chg="mod">
          <ac:chgData name="Jivani, Yash" userId="d3219360-dc34-4c5d-aaa0-47f172547215" providerId="ADAL" clId="{4734F14E-700E-43BE-8802-134898EA49E2}" dt="2023-03-08T18:44:37.708" v="4836" actId="948"/>
          <ac:spMkLst>
            <pc:docMk/>
            <pc:sldMk cId="3985600597" sldId="305"/>
            <ac:spMk id="2" creationId="{150B3470-9468-9DD8-033E-3E966415329F}"/>
          </ac:spMkLst>
        </pc:spChg>
        <pc:spChg chg="add del mod modVis">
          <ac:chgData name="Jivani, Yash" userId="d3219360-dc34-4c5d-aaa0-47f172547215" providerId="ADAL" clId="{4734F14E-700E-43BE-8802-134898EA49E2}" dt="2023-03-08T18:44:27.604" v="4403"/>
          <ac:spMkLst>
            <pc:docMk/>
            <pc:sldMk cId="3985600597" sldId="305"/>
            <ac:spMk id="5" creationId="{626281AA-203A-A94C-1FA5-BFFC369F7635}"/>
          </ac:spMkLst>
        </pc:spChg>
        <pc:spChg chg="add del mod modVis">
          <ac:chgData name="Jivani, Yash" userId="d3219360-dc34-4c5d-aaa0-47f172547215" providerId="ADAL" clId="{4734F14E-700E-43BE-8802-134898EA49E2}" dt="2023-03-08T18:44:28.458" v="4665"/>
          <ac:spMkLst>
            <pc:docMk/>
            <pc:sldMk cId="3985600597" sldId="305"/>
            <ac:spMk id="7" creationId="{76C625B2-9B4B-7FE1-D49E-FD6882B7470F}"/>
          </ac:spMkLst>
        </pc:spChg>
        <pc:spChg chg="add del">
          <ac:chgData name="Jivani, Yash" userId="d3219360-dc34-4c5d-aaa0-47f172547215" providerId="ADAL" clId="{4734F14E-700E-43BE-8802-134898EA49E2}" dt="2023-03-08T18:44:27.604" v="4403"/>
          <ac:spMkLst>
            <pc:docMk/>
            <pc:sldMk cId="3985600597" sldId="305"/>
            <ac:spMk id="9" creationId="{5C9B446A-6343-4E56-90BA-061E4DDF0FFB}"/>
          </ac:spMkLst>
        </pc:spChg>
        <pc:spChg chg="add del mod modVis">
          <ac:chgData name="Jivani, Yash" userId="d3219360-dc34-4c5d-aaa0-47f172547215" providerId="ADAL" clId="{4734F14E-700E-43BE-8802-134898EA49E2}" dt="2023-03-08T18:44:37.754" v="4895"/>
          <ac:spMkLst>
            <pc:docMk/>
            <pc:sldMk cId="3985600597" sldId="305"/>
            <ac:spMk id="10" creationId="{DA0A44A3-9D78-8E87-13BC-0839B85BE490}"/>
          </ac:spMkLst>
        </pc:spChg>
        <pc:spChg chg="add del">
          <ac:chgData name="Jivani, Yash" userId="d3219360-dc34-4c5d-aaa0-47f172547215" providerId="ADAL" clId="{4734F14E-700E-43BE-8802-134898EA49E2}" dt="2023-03-08T18:44:27.604" v="4403"/>
          <ac:spMkLst>
            <pc:docMk/>
            <pc:sldMk cId="3985600597" sldId="305"/>
            <ac:spMk id="11" creationId="{3EC72A1B-03D3-499C-B4BF-AC68EEC22B10}"/>
          </ac:spMkLst>
        </pc:spChg>
        <pc:spChg chg="add mod">
          <ac:chgData name="Jivani, Yash" userId="d3219360-dc34-4c5d-aaa0-47f172547215" providerId="ADAL" clId="{4734F14E-700E-43BE-8802-134898EA49E2}" dt="2023-03-08T18:55:32.467" v="6150"/>
          <ac:spMkLst>
            <pc:docMk/>
            <pc:sldMk cId="3985600597" sldId="305"/>
            <ac:spMk id="12" creationId="{2AD3A414-DD0E-303F-50B4-99E82AF9A3BB}"/>
          </ac:spMkLst>
        </pc:spChg>
        <pc:spChg chg="add del">
          <ac:chgData name="Jivani, Yash" userId="d3219360-dc34-4c5d-aaa0-47f172547215" providerId="ADAL" clId="{4734F14E-700E-43BE-8802-134898EA49E2}" dt="2023-03-08T18:44:27.604" v="4403"/>
          <ac:spMkLst>
            <pc:docMk/>
            <pc:sldMk cId="3985600597" sldId="305"/>
            <ac:spMk id="13" creationId="{216322C2-3CF0-4D33-BF90-3F384CF6D232}"/>
          </ac:spMkLst>
        </pc:spChg>
        <pc:spChg chg="add del">
          <ac:chgData name="Jivani, Yash" userId="d3219360-dc34-4c5d-aaa0-47f172547215" providerId="ADAL" clId="{4734F14E-700E-43BE-8802-134898EA49E2}" dt="2023-03-08T18:44:27.604" v="4403"/>
          <ac:spMkLst>
            <pc:docMk/>
            <pc:sldMk cId="3985600597" sldId="305"/>
            <ac:spMk id="15" creationId="{55D4142C-5077-457F-A6AD-3FECFDB39685}"/>
          </ac:spMkLst>
        </pc:spChg>
        <pc:spChg chg="add del">
          <ac:chgData name="Jivani, Yash" userId="d3219360-dc34-4c5d-aaa0-47f172547215" providerId="ADAL" clId="{4734F14E-700E-43BE-8802-134898EA49E2}" dt="2023-03-08T18:44:27.604" v="4403"/>
          <ac:spMkLst>
            <pc:docMk/>
            <pc:sldMk cId="3985600597" sldId="305"/>
            <ac:spMk id="17" creationId="{7A5F0580-5EE9-419F-96EE-B6529EF6E7D0}"/>
          </ac:spMkLst>
        </pc:spChg>
        <pc:graphicFrameChg chg="add del mod ord modVis replST delST">
          <ac:chgData name="Jivani, Yash" userId="d3219360-dc34-4c5d-aaa0-47f172547215" providerId="ADAL" clId="{4734F14E-700E-43BE-8802-134898EA49E2}" dt="2023-03-08T18:44:27.604" v="4403"/>
          <ac:graphicFrameMkLst>
            <pc:docMk/>
            <pc:sldMk cId="3985600597" sldId="305"/>
            <ac:graphicFrameMk id="6" creationId="{E3859072-5E54-08DD-576D-12AE43B232B9}"/>
          </ac:graphicFrameMkLst>
        </pc:graphicFrameChg>
        <pc:graphicFrameChg chg="add mod ord modVis replST">
          <ac:chgData name="Jivani, Yash" userId="d3219360-dc34-4c5d-aaa0-47f172547215" providerId="ADAL" clId="{4734F14E-700E-43BE-8802-134898EA49E2}" dt="2023-03-08T18:44:37.756" v="4897"/>
          <ac:graphicFrameMkLst>
            <pc:docMk/>
            <pc:sldMk cId="3985600597" sldId="305"/>
            <ac:graphicFrameMk id="8" creationId="{A8B89A4B-1FF1-8763-AF97-AED06C03966B}"/>
          </ac:graphicFrameMkLst>
        </pc:graphicFrameChg>
      </pc:sldChg>
      <pc:sldChg chg="addSp delSp modSp mod delDesignElem">
        <pc:chgData name="Jivani, Yash" userId="d3219360-dc34-4c5d-aaa0-47f172547215" providerId="ADAL" clId="{4734F14E-700E-43BE-8802-134898EA49E2}" dt="2023-03-08T18:44:37.754" v="4893"/>
        <pc:sldMkLst>
          <pc:docMk/>
          <pc:sldMk cId="3983303221" sldId="306"/>
        </pc:sldMkLst>
        <pc:spChg chg="mod">
          <ac:chgData name="Jivani, Yash" userId="d3219360-dc34-4c5d-aaa0-47f172547215" providerId="ADAL" clId="{4734F14E-700E-43BE-8802-134898EA49E2}" dt="2023-03-08T18:44:37.676" v="4798" actId="948"/>
          <ac:spMkLst>
            <pc:docMk/>
            <pc:sldMk cId="3983303221" sldId="306"/>
            <ac:spMk id="2" creationId="{526B4FA2-E412-A808-0552-86EA1470B3CF}"/>
          </ac:spMkLst>
        </pc:spChg>
        <pc:spChg chg="add del mod modVis">
          <ac:chgData name="Jivani, Yash" userId="d3219360-dc34-4c5d-aaa0-47f172547215" providerId="ADAL" clId="{4734F14E-700E-43BE-8802-134898EA49E2}" dt="2023-03-08T18:44:27.604" v="4403"/>
          <ac:spMkLst>
            <pc:docMk/>
            <pc:sldMk cId="3983303221" sldId="306"/>
            <ac:spMk id="7" creationId="{69A06A89-57A3-5743-3A27-3BAE541826AA}"/>
          </ac:spMkLst>
        </pc:spChg>
        <pc:spChg chg="add del mod modVis">
          <ac:chgData name="Jivani, Yash" userId="d3219360-dc34-4c5d-aaa0-47f172547215" providerId="ADAL" clId="{4734F14E-700E-43BE-8802-134898EA49E2}" dt="2023-03-08T18:44:28.437" v="4647"/>
          <ac:spMkLst>
            <pc:docMk/>
            <pc:sldMk cId="3983303221" sldId="306"/>
            <ac:spMk id="9" creationId="{3D862C2A-9D68-BDFB-838A-0703EE2F8FBA}"/>
          </ac:spMkLst>
        </pc:spChg>
        <pc:spChg chg="add del mod modVis">
          <ac:chgData name="Jivani, Yash" userId="d3219360-dc34-4c5d-aaa0-47f172547215" providerId="ADAL" clId="{4734F14E-700E-43BE-8802-134898EA49E2}" dt="2023-03-08T18:44:37.752" v="4891"/>
          <ac:spMkLst>
            <pc:docMk/>
            <pc:sldMk cId="3983303221" sldId="306"/>
            <ac:spMk id="13" creationId="{1CBDA003-5320-CCB0-7AB6-71A82B3863A6}"/>
          </ac:spMkLst>
        </pc:spChg>
        <pc:spChg chg="add del">
          <ac:chgData name="Jivani, Yash" userId="d3219360-dc34-4c5d-aaa0-47f172547215" providerId="ADAL" clId="{4734F14E-700E-43BE-8802-134898EA49E2}" dt="2023-03-08T18:44:27.604" v="4403"/>
          <ac:spMkLst>
            <pc:docMk/>
            <pc:sldMk cId="3983303221" sldId="306"/>
            <ac:spMk id="17" creationId="{131BAD53-4E89-4F62-BBB7-26359763ED39}"/>
          </ac:spMkLst>
        </pc:spChg>
        <pc:spChg chg="add del">
          <ac:chgData name="Jivani, Yash" userId="d3219360-dc34-4c5d-aaa0-47f172547215" providerId="ADAL" clId="{4734F14E-700E-43BE-8802-134898EA49E2}" dt="2023-03-08T18:44:27.604" v="4403"/>
          <ac:spMkLst>
            <pc:docMk/>
            <pc:sldMk cId="3983303221" sldId="306"/>
            <ac:spMk id="18" creationId="{62756DA2-40EB-4C6F-B962-5822FFB54FB6}"/>
          </ac:spMkLst>
        </pc:spChg>
        <pc:graphicFrameChg chg="add del mod ord modVis replST delST">
          <ac:chgData name="Jivani, Yash" userId="d3219360-dc34-4c5d-aaa0-47f172547215" providerId="ADAL" clId="{4734F14E-700E-43BE-8802-134898EA49E2}" dt="2023-03-08T18:44:27.604" v="4403"/>
          <ac:graphicFrameMkLst>
            <pc:docMk/>
            <pc:sldMk cId="3983303221" sldId="306"/>
            <ac:graphicFrameMk id="8" creationId="{7BB73F36-104F-19D5-7ED8-EE21C89F8F9B}"/>
          </ac:graphicFrameMkLst>
        </pc:graphicFrameChg>
        <pc:graphicFrameChg chg="add mod ord modVis replST">
          <ac:chgData name="Jivani, Yash" userId="d3219360-dc34-4c5d-aaa0-47f172547215" providerId="ADAL" clId="{4734F14E-700E-43BE-8802-134898EA49E2}" dt="2023-03-08T18:44:37.754" v="4893"/>
          <ac:graphicFrameMkLst>
            <pc:docMk/>
            <pc:sldMk cId="3983303221" sldId="306"/>
            <ac:graphicFrameMk id="11" creationId="{5E15E345-6088-76A8-A455-B6BFEA8CC982}"/>
          </ac:graphicFrameMkLst>
        </pc:graphicFrameChg>
      </pc:sldChg>
      <pc:sldChg chg="addSp delSp modSp new add mod setBg">
        <pc:chgData name="Jivani, Yash" userId="d3219360-dc34-4c5d-aaa0-47f172547215" providerId="ADAL" clId="{4734F14E-700E-43BE-8802-134898EA49E2}" dt="2023-03-08T21:38:58.154" v="7173" actId="20577"/>
        <pc:sldMkLst>
          <pc:docMk/>
          <pc:sldMk cId="1023354823" sldId="307"/>
        </pc:sldMkLst>
        <pc:spChg chg="mod">
          <ac:chgData name="Jivani, Yash" userId="d3219360-dc34-4c5d-aaa0-47f172547215" providerId="ADAL" clId="{4734F14E-700E-43BE-8802-134898EA49E2}" dt="2023-03-08T19:22:18.422" v="6411" actId="948"/>
          <ac:spMkLst>
            <pc:docMk/>
            <pc:sldMk cId="1023354823" sldId="307"/>
            <ac:spMk id="2" creationId="{2D6A910F-BBF3-DA0C-501C-BC3BB348759E}"/>
          </ac:spMkLst>
        </pc:spChg>
        <pc:spChg chg="mod">
          <ac:chgData name="Jivani, Yash" userId="d3219360-dc34-4c5d-aaa0-47f172547215" providerId="ADAL" clId="{4734F14E-700E-43BE-8802-134898EA49E2}" dt="2023-03-08T21:38:58.154" v="7173" actId="20577"/>
          <ac:spMkLst>
            <pc:docMk/>
            <pc:sldMk cId="1023354823" sldId="307"/>
            <ac:spMk id="3" creationId="{33507D1A-46B2-6D7A-4C38-6541BE7784E0}"/>
          </ac:spMkLst>
        </pc:spChg>
        <pc:spChg chg="add">
          <ac:chgData name="Jivani, Yash" userId="d3219360-dc34-4c5d-aaa0-47f172547215" providerId="ADAL" clId="{4734F14E-700E-43BE-8802-134898EA49E2}" dt="2023-03-08T17:33:40.588" v="1247" actId="26606"/>
          <ac:spMkLst>
            <pc:docMk/>
            <pc:sldMk cId="1023354823" sldId="307"/>
            <ac:spMk id="10" creationId="{B250C39F-3F6C-4D53-86D2-7BC6B2FF609C}"/>
          </ac:spMkLst>
        </pc:spChg>
        <pc:spChg chg="add">
          <ac:chgData name="Jivani, Yash" userId="d3219360-dc34-4c5d-aaa0-47f172547215" providerId="ADAL" clId="{4734F14E-700E-43BE-8802-134898EA49E2}" dt="2023-03-08T17:33:40.588" v="1247" actId="26606"/>
          <ac:spMkLst>
            <pc:docMk/>
            <pc:sldMk cId="1023354823" sldId="307"/>
            <ac:spMk id="12" creationId="{70A48D59-8581-41F7-B529-F4617FE07A9A}"/>
          </ac:spMkLst>
        </pc:spChg>
        <pc:spChg chg="add">
          <ac:chgData name="Jivani, Yash" userId="d3219360-dc34-4c5d-aaa0-47f172547215" providerId="ADAL" clId="{4734F14E-700E-43BE-8802-134898EA49E2}" dt="2023-03-08T17:33:40.588" v="1247" actId="26606"/>
          <ac:spMkLst>
            <pc:docMk/>
            <pc:sldMk cId="1023354823" sldId="307"/>
            <ac:spMk id="14" creationId="{9DD005C1-8C51-42D6-9BEE-B9B83849743D}"/>
          </ac:spMkLst>
        </pc:spChg>
        <pc:graphicFrameChg chg="add mod ord modVis replST">
          <ac:chgData name="Jivani, Yash" userId="d3219360-dc34-4c5d-aaa0-47f172547215" providerId="ADAL" clId="{4734F14E-700E-43BE-8802-134898EA49E2}" dt="2023-03-08T19:22:18.440" v="6415"/>
          <ac:graphicFrameMkLst>
            <pc:docMk/>
            <pc:sldMk cId="1023354823" sldId="307"/>
            <ac:graphicFrameMk id="6" creationId="{6F044250-723E-C4CF-363B-B539F8705FF8}"/>
          </ac:graphicFrameMkLst>
        </pc:graphicFrameChg>
        <pc:picChg chg="add del mod">
          <ac:chgData name="Jivani, Yash" userId="d3219360-dc34-4c5d-aaa0-47f172547215" providerId="ADAL" clId="{4734F14E-700E-43BE-8802-134898EA49E2}" dt="2023-03-08T17:32:22.281" v="1242" actId="478"/>
          <ac:picMkLst>
            <pc:docMk/>
            <pc:sldMk cId="1023354823" sldId="307"/>
            <ac:picMk id="4" creationId="{CEA7E434-4A86-63A5-26BE-16F987A73536}"/>
          </ac:picMkLst>
        </pc:picChg>
        <pc:picChg chg="add mod ord">
          <ac:chgData name="Jivani, Yash" userId="d3219360-dc34-4c5d-aaa0-47f172547215" providerId="ADAL" clId="{4734F14E-700E-43BE-8802-134898EA49E2}" dt="2023-03-08T21:35:30.600" v="7139" actId="1076"/>
          <ac:picMkLst>
            <pc:docMk/>
            <pc:sldMk cId="1023354823" sldId="307"/>
            <ac:picMk id="5" creationId="{0BCA6691-7961-4C00-70F9-AB2A18175CF7}"/>
          </ac:picMkLst>
        </pc:picChg>
        <pc:picChg chg="add del mod">
          <ac:chgData name="Jivani, Yash" userId="d3219360-dc34-4c5d-aaa0-47f172547215" providerId="ADAL" clId="{4734F14E-700E-43BE-8802-134898EA49E2}" dt="2023-03-08T21:35:51.485" v="7152" actId="21"/>
          <ac:picMkLst>
            <pc:docMk/>
            <pc:sldMk cId="1023354823" sldId="307"/>
            <ac:picMk id="9" creationId="{1EBC0304-D470-E9E4-186A-14C5E27259AF}"/>
          </ac:picMkLst>
        </pc:picChg>
        <pc:picChg chg="add del mod">
          <ac:chgData name="Jivani, Yash" userId="d3219360-dc34-4c5d-aaa0-47f172547215" providerId="ADAL" clId="{4734F14E-700E-43BE-8802-134898EA49E2}" dt="2023-03-08T21:35:51.485" v="7152" actId="21"/>
          <ac:picMkLst>
            <pc:docMk/>
            <pc:sldMk cId="1023354823" sldId="307"/>
            <ac:picMk id="13" creationId="{F7CFB8F1-429A-DE35-F4BD-83B6451001E7}"/>
          </ac:picMkLst>
        </pc:picChg>
        <pc:picChg chg="add del mod">
          <ac:chgData name="Jivani, Yash" userId="d3219360-dc34-4c5d-aaa0-47f172547215" providerId="ADAL" clId="{4734F14E-700E-43BE-8802-134898EA49E2}" dt="2023-03-08T21:35:51.485" v="7152" actId="21"/>
          <ac:picMkLst>
            <pc:docMk/>
            <pc:sldMk cId="1023354823" sldId="307"/>
            <ac:picMk id="2050" creationId="{9FC8889D-18CE-0DB9-F57D-4F090590FB13}"/>
          </ac:picMkLst>
        </pc:picChg>
      </pc:sldChg>
      <pc:sldChg chg="addSp delSp modSp new add del mod">
        <pc:chgData name="Jivani, Yash" userId="d3219360-dc34-4c5d-aaa0-47f172547215" providerId="ADAL" clId="{4734F14E-700E-43BE-8802-134898EA49E2}" dt="2023-03-08T19:20:49.214" v="6379" actId="47"/>
        <pc:sldMkLst>
          <pc:docMk/>
          <pc:sldMk cId="2553477223" sldId="308"/>
        </pc:sldMkLst>
        <pc:spChg chg="mod">
          <ac:chgData name="Jivani, Yash" userId="d3219360-dc34-4c5d-aaa0-47f172547215" providerId="ADAL" clId="{4734F14E-700E-43BE-8802-134898EA49E2}" dt="2023-03-08T17:55:35.489" v="1603" actId="948"/>
          <ac:spMkLst>
            <pc:docMk/>
            <pc:sldMk cId="2553477223" sldId="308"/>
            <ac:spMk id="2" creationId="{2D06B41B-11E3-DD7E-742F-F2955C3E30C3}"/>
          </ac:spMkLst>
        </pc:spChg>
        <pc:spChg chg="add del mod modVis">
          <ac:chgData name="Jivani, Yash" userId="d3219360-dc34-4c5d-aaa0-47f172547215" providerId="ADAL" clId="{4734F14E-700E-43BE-8802-134898EA49E2}" dt="2023-03-08T17:55:35.520" v="1644"/>
          <ac:spMkLst>
            <pc:docMk/>
            <pc:sldMk cId="2553477223" sldId="308"/>
            <ac:spMk id="4" creationId="{91BBC0B6-BE0B-5C40-0514-B903BE0F1F08}"/>
          </ac:spMkLst>
        </pc:spChg>
        <pc:graphicFrameChg chg="add mod ord modVis replST">
          <ac:chgData name="Jivani, Yash" userId="d3219360-dc34-4c5d-aaa0-47f172547215" providerId="ADAL" clId="{4734F14E-700E-43BE-8802-134898EA49E2}" dt="2023-03-08T17:55:35.542" v="1660"/>
          <ac:graphicFrameMkLst>
            <pc:docMk/>
            <pc:sldMk cId="2553477223" sldId="308"/>
            <ac:graphicFrameMk id="5" creationId="{E3B2AFD1-4B0B-D898-63B6-6F243D66E243}"/>
          </ac:graphicFrameMkLst>
        </pc:graphicFrameChg>
      </pc:sldChg>
      <pc:sldChg chg="addSp modSp mod">
        <pc:chgData name="Jivani, Yash" userId="d3219360-dc34-4c5d-aaa0-47f172547215" providerId="ADAL" clId="{4734F14E-700E-43BE-8802-134898EA49E2}" dt="2023-03-08T18:16:05.997" v="3541" actId="20577"/>
        <pc:sldMkLst>
          <pc:docMk/>
          <pc:sldMk cId="3282460979" sldId="310"/>
        </pc:sldMkLst>
        <pc:spChg chg="add mod">
          <ac:chgData name="Jivani, Yash" userId="d3219360-dc34-4c5d-aaa0-47f172547215" providerId="ADAL" clId="{4734F14E-700E-43BE-8802-134898EA49E2}" dt="2023-03-08T18:16:05.997" v="3541" actId="20577"/>
          <ac:spMkLst>
            <pc:docMk/>
            <pc:sldMk cId="3282460979" sldId="310"/>
            <ac:spMk id="13" creationId="{E08F3FE2-638B-BA74-5F08-1AE7ACE4FE32}"/>
          </ac:spMkLst>
        </pc:spChg>
        <pc:graphicFrameChg chg="add mod ord modVis replST">
          <ac:chgData name="Jivani, Yash" userId="d3219360-dc34-4c5d-aaa0-47f172547215" providerId="ADAL" clId="{4734F14E-700E-43BE-8802-134898EA49E2}" dt="2023-03-08T18:16:02.732" v="3530"/>
          <ac:graphicFrameMkLst>
            <pc:docMk/>
            <pc:sldMk cId="3282460979" sldId="310"/>
            <ac:graphicFrameMk id="14" creationId="{9768D8C5-55D8-692A-85FC-A0EAFD7DF2EC}"/>
          </ac:graphicFrameMkLst>
        </pc:graphicFrameChg>
        <pc:picChg chg="mod">
          <ac:chgData name="Jivani, Yash" userId="d3219360-dc34-4c5d-aaa0-47f172547215" providerId="ADAL" clId="{4734F14E-700E-43BE-8802-134898EA49E2}" dt="2023-03-08T17:58:50.597" v="2343" actId="1076"/>
          <ac:picMkLst>
            <pc:docMk/>
            <pc:sldMk cId="3282460979" sldId="310"/>
            <ac:picMk id="10" creationId="{47E5AC2C-E201-ECD9-2C00-9B93FBF5799B}"/>
          </ac:picMkLst>
        </pc:picChg>
      </pc:sldChg>
      <pc:sldChg chg="addSp modSp mod">
        <pc:chgData name="Jivani, Yash" userId="d3219360-dc34-4c5d-aaa0-47f172547215" providerId="ADAL" clId="{4734F14E-700E-43BE-8802-134898EA49E2}" dt="2023-03-08T18:32:02.636" v="3859" actId="5793"/>
        <pc:sldMkLst>
          <pc:docMk/>
          <pc:sldMk cId="2116282185" sldId="311"/>
        </pc:sldMkLst>
        <pc:spChg chg="mod">
          <ac:chgData name="Jivani, Yash" userId="d3219360-dc34-4c5d-aaa0-47f172547215" providerId="ADAL" clId="{4734F14E-700E-43BE-8802-134898EA49E2}" dt="2023-03-08T18:32:02.636" v="3859" actId="5793"/>
          <ac:spMkLst>
            <pc:docMk/>
            <pc:sldMk cId="2116282185" sldId="311"/>
            <ac:spMk id="5" creationId="{D6199ACB-BCF1-E557-C6DB-1D96CF9E0384}"/>
          </ac:spMkLst>
        </pc:spChg>
        <pc:graphicFrameChg chg="add mod ord modVis replST">
          <ac:chgData name="Jivani, Yash" userId="d3219360-dc34-4c5d-aaa0-47f172547215" providerId="ADAL" clId="{4734F14E-700E-43BE-8802-134898EA49E2}" dt="2023-03-08T18:31:27.982" v="3798"/>
          <ac:graphicFrameMkLst>
            <pc:docMk/>
            <pc:sldMk cId="2116282185" sldId="311"/>
            <ac:graphicFrameMk id="8" creationId="{11AFF9E4-0D2F-CD04-56D2-DB06B8F40714}"/>
          </ac:graphicFrameMkLst>
        </pc:graphicFrameChg>
      </pc:sldChg>
      <pc:sldChg chg="addSp delSp modSp mod">
        <pc:chgData name="Jivani, Yash" userId="d3219360-dc34-4c5d-aaa0-47f172547215" providerId="ADAL" clId="{4734F14E-700E-43BE-8802-134898EA49E2}" dt="2023-03-08T18:31:29.090" v="3856"/>
        <pc:sldMkLst>
          <pc:docMk/>
          <pc:sldMk cId="324190258" sldId="312"/>
        </pc:sldMkLst>
        <pc:spChg chg="mod">
          <ac:chgData name="Jivani, Yash" userId="d3219360-dc34-4c5d-aaa0-47f172547215" providerId="ADAL" clId="{4734F14E-700E-43BE-8802-134898EA49E2}" dt="2023-03-08T18:31:29.013" v="3799" actId="948"/>
          <ac:spMkLst>
            <pc:docMk/>
            <pc:sldMk cId="324190258" sldId="312"/>
            <ac:spMk id="2" creationId="{BA4D2D45-49FF-BDC2-BCC6-12AA567CCB42}"/>
          </ac:spMkLst>
        </pc:spChg>
        <pc:spChg chg="add del mod modVis">
          <ac:chgData name="Jivani, Yash" userId="d3219360-dc34-4c5d-aaa0-47f172547215" providerId="ADAL" clId="{4734F14E-700E-43BE-8802-134898EA49E2}" dt="2023-03-08T18:31:29.061" v="3840"/>
          <ac:spMkLst>
            <pc:docMk/>
            <pc:sldMk cId="324190258" sldId="312"/>
            <ac:spMk id="5" creationId="{668E23B7-99E8-B5FD-3257-6EB446F77EE4}"/>
          </ac:spMkLst>
        </pc:spChg>
        <pc:graphicFrameChg chg="add mod ord modVis replST">
          <ac:chgData name="Jivani, Yash" userId="d3219360-dc34-4c5d-aaa0-47f172547215" providerId="ADAL" clId="{4734F14E-700E-43BE-8802-134898EA49E2}" dt="2023-03-08T18:31:29.090" v="3856"/>
          <ac:graphicFrameMkLst>
            <pc:docMk/>
            <pc:sldMk cId="324190258" sldId="312"/>
            <ac:graphicFrameMk id="8" creationId="{B822044D-8C09-EF7D-C1FA-012ED26C2601}"/>
          </ac:graphicFrameMkLst>
        </pc:graphicFrameChg>
      </pc:sldChg>
      <pc:sldChg chg="addSp delSp modSp mod">
        <pc:chgData name="Jivani, Yash" userId="d3219360-dc34-4c5d-aaa0-47f172547215" providerId="ADAL" clId="{4734F14E-700E-43BE-8802-134898EA49E2}" dt="2023-03-08T21:43:10.049" v="7251"/>
        <pc:sldMkLst>
          <pc:docMk/>
          <pc:sldMk cId="4252067334" sldId="313"/>
        </pc:sldMkLst>
        <pc:spChg chg="mod">
          <ac:chgData name="Jivani, Yash" userId="d3219360-dc34-4c5d-aaa0-47f172547215" providerId="ADAL" clId="{4734F14E-700E-43BE-8802-134898EA49E2}" dt="2023-03-08T21:43:10.001" v="7194" actId="948"/>
          <ac:spMkLst>
            <pc:docMk/>
            <pc:sldMk cId="4252067334" sldId="313"/>
            <ac:spMk id="2" creationId="{DE45C66C-5498-A014-4D48-653568210CB4}"/>
          </ac:spMkLst>
        </pc:spChg>
        <pc:spChg chg="add del mod modVis">
          <ac:chgData name="Jivani, Yash" userId="d3219360-dc34-4c5d-aaa0-47f172547215" providerId="ADAL" clId="{4734F14E-700E-43BE-8802-134898EA49E2}" dt="2023-03-08T21:43:10.031" v="7235"/>
          <ac:spMkLst>
            <pc:docMk/>
            <pc:sldMk cId="4252067334" sldId="313"/>
            <ac:spMk id="11" creationId="{FE978969-C265-C59E-4B8C-0D5EAEEDEF9E}"/>
          </ac:spMkLst>
        </pc:spChg>
        <pc:graphicFrameChg chg="add mod ord modVis replST">
          <ac:chgData name="Jivani, Yash" userId="d3219360-dc34-4c5d-aaa0-47f172547215" providerId="ADAL" clId="{4734F14E-700E-43BE-8802-134898EA49E2}" dt="2023-03-08T21:43:10.049" v="7251"/>
          <ac:graphicFrameMkLst>
            <pc:docMk/>
            <pc:sldMk cId="4252067334" sldId="313"/>
            <ac:graphicFrameMk id="12" creationId="{D07742ED-6D31-69C4-6B8E-608D5DCB4B4B}"/>
          </ac:graphicFrameMkLst>
        </pc:graphicFrameChg>
      </pc:sldChg>
      <pc:sldChg chg="addSp delSp modSp mod delDesignElem">
        <pc:chgData name="Jivani, Yash" userId="d3219360-dc34-4c5d-aaa0-47f172547215" providerId="ADAL" clId="{4734F14E-700E-43BE-8802-134898EA49E2}" dt="2023-03-08T18:55:25.700" v="6148" actId="1076"/>
        <pc:sldMkLst>
          <pc:docMk/>
          <pc:sldMk cId="3321170582" sldId="314"/>
        </pc:sldMkLst>
        <pc:spChg chg="mod">
          <ac:chgData name="Jivani, Yash" userId="d3219360-dc34-4c5d-aaa0-47f172547215" providerId="ADAL" clId="{4734F14E-700E-43BE-8802-134898EA49E2}" dt="2023-03-08T18:44:37.615" v="4722" actId="948"/>
          <ac:spMkLst>
            <pc:docMk/>
            <pc:sldMk cId="3321170582" sldId="314"/>
            <ac:spMk id="2" creationId="{5860531E-5C44-333F-6B6C-CAB585DAE2A6}"/>
          </ac:spMkLst>
        </pc:spChg>
        <pc:spChg chg="add del mod modVis">
          <ac:chgData name="Jivani, Yash" userId="d3219360-dc34-4c5d-aaa0-47f172547215" providerId="ADAL" clId="{4734F14E-700E-43BE-8802-134898EA49E2}" dt="2023-03-08T18:44:27.604" v="4403"/>
          <ac:spMkLst>
            <pc:docMk/>
            <pc:sldMk cId="3321170582" sldId="314"/>
            <ac:spMk id="4" creationId="{74537A2E-45BC-33AD-F138-2D373F0D0228}"/>
          </ac:spMkLst>
        </pc:spChg>
        <pc:spChg chg="add del mod modVis">
          <ac:chgData name="Jivani, Yash" userId="d3219360-dc34-4c5d-aaa0-47f172547215" providerId="ADAL" clId="{4734F14E-700E-43BE-8802-134898EA49E2}" dt="2023-03-08T18:44:28.391" v="4609"/>
          <ac:spMkLst>
            <pc:docMk/>
            <pc:sldMk cId="3321170582" sldId="314"/>
            <ac:spMk id="8" creationId="{2BD36799-9927-A3E2-3177-387FD7AD5EFC}"/>
          </ac:spMkLst>
        </pc:spChg>
        <pc:spChg chg="add del mod modVis">
          <ac:chgData name="Jivani, Yash" userId="d3219360-dc34-4c5d-aaa0-47f172547215" providerId="ADAL" clId="{4734F14E-700E-43BE-8802-134898EA49E2}" dt="2023-03-08T18:44:37.745" v="4881"/>
          <ac:spMkLst>
            <pc:docMk/>
            <pc:sldMk cId="3321170582" sldId="314"/>
            <ac:spMk id="12" creationId="{BE26EE7E-B5DC-842A-1769-B70B3CF18B77}"/>
          </ac:spMkLst>
        </pc:spChg>
        <pc:spChg chg="mod">
          <ac:chgData name="Jivani, Yash" userId="d3219360-dc34-4c5d-aaa0-47f172547215" providerId="ADAL" clId="{4734F14E-700E-43BE-8802-134898EA49E2}" dt="2023-03-08T18:55:25.700" v="6148" actId="1076"/>
          <ac:spMkLst>
            <pc:docMk/>
            <pc:sldMk cId="3321170582" sldId="314"/>
            <ac:spMk id="14" creationId="{B1A27505-CED4-1E39-2FF3-4C7BCA3BA798}"/>
          </ac:spMkLst>
        </pc:spChg>
        <pc:spChg chg="add del">
          <ac:chgData name="Jivani, Yash" userId="d3219360-dc34-4c5d-aaa0-47f172547215" providerId="ADAL" clId="{4734F14E-700E-43BE-8802-134898EA49E2}" dt="2023-03-08T18:44:27.604" v="4403"/>
          <ac:spMkLst>
            <pc:docMk/>
            <pc:sldMk cId="3321170582" sldId="314"/>
            <ac:spMk id="51" creationId="{26FF42C2-EA15-4154-B242-E98E88CED99C}"/>
          </ac:spMkLst>
        </pc:spChg>
        <pc:spChg chg="add del">
          <ac:chgData name="Jivani, Yash" userId="d3219360-dc34-4c5d-aaa0-47f172547215" providerId="ADAL" clId="{4734F14E-700E-43BE-8802-134898EA49E2}" dt="2023-03-08T18:44:27.604" v="4403"/>
          <ac:spMkLst>
            <pc:docMk/>
            <pc:sldMk cId="3321170582" sldId="314"/>
            <ac:spMk id="52" creationId="{D79DE9F7-28C4-4856-BA57-D696E124C137}"/>
          </ac:spMkLst>
        </pc:spChg>
        <pc:spChg chg="add del">
          <ac:chgData name="Jivani, Yash" userId="d3219360-dc34-4c5d-aaa0-47f172547215" providerId="ADAL" clId="{4734F14E-700E-43BE-8802-134898EA49E2}" dt="2023-03-08T18:44:27.604" v="4403"/>
          <ac:spMkLst>
            <pc:docMk/>
            <pc:sldMk cId="3321170582" sldId="314"/>
            <ac:spMk id="53" creationId="{E1F9ED9C-121B-44C6-A308-5824769C40D5}"/>
          </ac:spMkLst>
        </pc:spChg>
        <pc:spChg chg="add del">
          <ac:chgData name="Jivani, Yash" userId="d3219360-dc34-4c5d-aaa0-47f172547215" providerId="ADAL" clId="{4734F14E-700E-43BE-8802-134898EA49E2}" dt="2023-03-08T18:44:27.604" v="4403"/>
          <ac:spMkLst>
            <pc:docMk/>
            <pc:sldMk cId="3321170582" sldId="314"/>
            <ac:spMk id="54" creationId="{4A5F8185-F27B-4E99-A06C-007336FE3F2D}"/>
          </ac:spMkLst>
        </pc:spChg>
        <pc:graphicFrameChg chg="add del mod ord modVis replST delST">
          <ac:chgData name="Jivani, Yash" userId="d3219360-dc34-4c5d-aaa0-47f172547215" providerId="ADAL" clId="{4734F14E-700E-43BE-8802-134898EA49E2}" dt="2023-03-08T18:44:27.604" v="4403"/>
          <ac:graphicFrameMkLst>
            <pc:docMk/>
            <pc:sldMk cId="3321170582" sldId="314"/>
            <ac:graphicFrameMk id="6" creationId="{CB3292AD-665C-BA40-CEF3-B72ADCE86DD6}"/>
          </ac:graphicFrameMkLst>
        </pc:graphicFrameChg>
        <pc:graphicFrameChg chg="add mod ord modVis replST">
          <ac:chgData name="Jivani, Yash" userId="d3219360-dc34-4c5d-aaa0-47f172547215" providerId="ADAL" clId="{4734F14E-700E-43BE-8802-134898EA49E2}" dt="2023-03-08T18:44:37.747" v="4883"/>
          <ac:graphicFrameMkLst>
            <pc:docMk/>
            <pc:sldMk cId="3321170582" sldId="314"/>
            <ac:graphicFrameMk id="10" creationId="{F6A72D14-F7AD-D7DB-C760-230C4BD55ED0}"/>
          </ac:graphicFrameMkLst>
        </pc:graphicFrameChg>
      </pc:sldChg>
      <pc:sldChg chg="addSp delSp modSp mod">
        <pc:chgData name="Jivani, Yash" userId="d3219360-dc34-4c5d-aaa0-47f172547215" providerId="ADAL" clId="{4734F14E-700E-43BE-8802-134898EA49E2}" dt="2023-03-08T20:38:02.066" v="6783"/>
        <pc:sldMkLst>
          <pc:docMk/>
          <pc:sldMk cId="3335402709" sldId="315"/>
        </pc:sldMkLst>
        <pc:spChg chg="mod">
          <ac:chgData name="Jivani, Yash" userId="d3219360-dc34-4c5d-aaa0-47f172547215" providerId="ADAL" clId="{4734F14E-700E-43BE-8802-134898EA49E2}" dt="2023-03-08T20:38:02.019" v="6726" actId="948"/>
          <ac:spMkLst>
            <pc:docMk/>
            <pc:sldMk cId="3335402709" sldId="315"/>
            <ac:spMk id="2" creationId="{B610D19B-8F67-C848-4B2B-87489CAF773E}"/>
          </ac:spMkLst>
        </pc:spChg>
        <pc:spChg chg="add del mod modVis">
          <ac:chgData name="Jivani, Yash" userId="d3219360-dc34-4c5d-aaa0-47f172547215" providerId="ADAL" clId="{4734F14E-700E-43BE-8802-134898EA49E2}" dt="2023-03-08T20:38:02.051" v="6767"/>
          <ac:spMkLst>
            <pc:docMk/>
            <pc:sldMk cId="3335402709" sldId="315"/>
            <ac:spMk id="9" creationId="{99C94923-B522-3F96-CFE3-EA435ADDBD84}"/>
          </ac:spMkLst>
        </pc:spChg>
        <pc:graphicFrameChg chg="add mod ord modVis replST">
          <ac:chgData name="Jivani, Yash" userId="d3219360-dc34-4c5d-aaa0-47f172547215" providerId="ADAL" clId="{4734F14E-700E-43BE-8802-134898EA49E2}" dt="2023-03-08T20:38:02.066" v="6783"/>
          <ac:graphicFrameMkLst>
            <pc:docMk/>
            <pc:sldMk cId="3335402709" sldId="315"/>
            <ac:graphicFrameMk id="10" creationId="{EDC95CE8-A6AC-B9FE-94FC-3255E6885592}"/>
          </ac:graphicFrameMkLst>
        </pc:graphicFrameChg>
      </pc:sldChg>
      <pc:sldChg chg="addSp delSp modSp new add del mod setBg">
        <pc:chgData name="Jivani, Yash" userId="d3219360-dc34-4c5d-aaa0-47f172547215" providerId="ADAL" clId="{4734F14E-700E-43BE-8802-134898EA49E2}" dt="2023-03-08T18:30:53.526" v="3779" actId="47"/>
        <pc:sldMkLst>
          <pc:docMk/>
          <pc:sldMk cId="2216266988" sldId="316"/>
        </pc:sldMkLst>
        <pc:spChg chg="mod">
          <ac:chgData name="Jivani, Yash" userId="d3219360-dc34-4c5d-aaa0-47f172547215" providerId="ADAL" clId="{4734F14E-700E-43BE-8802-134898EA49E2}" dt="2023-03-08T18:30:11.763" v="3754" actId="26606"/>
          <ac:spMkLst>
            <pc:docMk/>
            <pc:sldMk cId="2216266988" sldId="316"/>
            <ac:spMk id="2" creationId="{D8BCD385-5CE8-1049-6AE6-67A1B058AD91}"/>
          </ac:spMkLst>
        </pc:spChg>
        <pc:spChg chg="mod">
          <ac:chgData name="Jivani, Yash" userId="d3219360-dc34-4c5d-aaa0-47f172547215" providerId="ADAL" clId="{4734F14E-700E-43BE-8802-134898EA49E2}" dt="2023-03-08T18:30:17.863" v="3773" actId="1076"/>
          <ac:spMkLst>
            <pc:docMk/>
            <pc:sldMk cId="2216266988" sldId="316"/>
            <ac:spMk id="3" creationId="{9CAFAEDC-7484-5FD7-BB2F-837A63D83556}"/>
          </ac:spMkLst>
        </pc:spChg>
        <pc:spChg chg="add del mod modVis">
          <ac:chgData name="Jivani, Yash" userId="d3219360-dc34-4c5d-aaa0-47f172547215" providerId="ADAL" clId="{4734F14E-700E-43BE-8802-134898EA49E2}" dt="2023-03-08T18:28:54.028" v="3750" actId="962"/>
          <ac:spMkLst>
            <pc:docMk/>
            <pc:sldMk cId="2216266988" sldId="316"/>
            <ac:spMk id="5" creationId="{7B7B5DAC-4B02-BFD1-8380-CFD89B39F3FF}"/>
          </ac:spMkLst>
        </pc:spChg>
        <pc:spChg chg="add">
          <ac:chgData name="Jivani, Yash" userId="d3219360-dc34-4c5d-aaa0-47f172547215" providerId="ADAL" clId="{4734F14E-700E-43BE-8802-134898EA49E2}" dt="2023-03-08T18:30:11.763" v="3754" actId="26606"/>
          <ac:spMkLst>
            <pc:docMk/>
            <pc:sldMk cId="2216266988" sldId="316"/>
            <ac:spMk id="9" creationId="{80DF40B2-80F7-4E71-B46C-284163F3654A}"/>
          </ac:spMkLst>
        </pc:spChg>
        <pc:graphicFrameChg chg="add mod ord modVis replST delST">
          <ac:chgData name="Jivani, Yash" userId="d3219360-dc34-4c5d-aaa0-47f172547215" providerId="ADAL" clId="{4734F14E-700E-43BE-8802-134898EA49E2}" dt="2023-03-08T18:28:54.005" v="3697" actId="14100"/>
          <ac:graphicFrameMkLst>
            <pc:docMk/>
            <pc:sldMk cId="2216266988" sldId="316"/>
            <ac:graphicFrameMk id="6" creationId="{950D867F-89D6-ADDD-E3F2-5E7B4137408E}"/>
          </ac:graphicFrameMkLst>
        </pc:graphicFrameChg>
        <pc:graphicFrameChg chg="add mod ord modVis replST">
          <ac:chgData name="Jivani, Yash" userId="d3219360-dc34-4c5d-aaa0-47f172547215" providerId="ADAL" clId="{4734F14E-700E-43BE-8802-134898EA49E2}" dt="2023-03-08T18:30:12.295" v="3772"/>
          <ac:graphicFrameMkLst>
            <pc:docMk/>
            <pc:sldMk cId="2216266988" sldId="316"/>
            <ac:graphicFrameMk id="7" creationId="{5E3DB3AF-AB43-9F0D-78C2-4025059B80BA}"/>
          </ac:graphicFrameMkLst>
        </pc:graphicFrameChg>
        <pc:picChg chg="add del mod modCrop">
          <ac:chgData name="Jivani, Yash" userId="d3219360-dc34-4c5d-aaa0-47f172547215" providerId="ADAL" clId="{4734F14E-700E-43BE-8802-134898EA49E2}" dt="2023-03-08T18:30:44.609" v="3778" actId="478"/>
          <ac:picMkLst>
            <pc:docMk/>
            <pc:sldMk cId="2216266988" sldId="316"/>
            <ac:picMk id="4" creationId="{E591F06F-C95D-E8A1-3EAE-5C36B56AB931}"/>
          </ac:picMkLst>
        </pc:picChg>
      </pc:sldChg>
      <pc:sldChg chg="addSp delSp modSp mod">
        <pc:chgData name="Jivani, Yash" userId="d3219360-dc34-4c5d-aaa0-47f172547215" providerId="ADAL" clId="{4734F14E-700E-43BE-8802-134898EA49E2}" dt="2023-03-08T18:44:37.751" v="4889"/>
        <pc:sldMkLst>
          <pc:docMk/>
          <pc:sldMk cId="2326452020" sldId="316"/>
        </pc:sldMkLst>
        <pc:spChg chg="mod">
          <ac:chgData name="Jivani, Yash" userId="d3219360-dc34-4c5d-aaa0-47f172547215" providerId="ADAL" clId="{4734F14E-700E-43BE-8802-134898EA49E2}" dt="2023-03-08T18:44:27.604" v="4403"/>
          <ac:spMkLst>
            <pc:docMk/>
            <pc:sldMk cId="2326452020" sldId="316"/>
            <ac:spMk id="3" creationId="{C7682CBD-5DC3-476D-DC85-40F9A4E121A5}"/>
          </ac:spMkLst>
        </pc:spChg>
        <pc:graphicFrameChg chg="add del mod ord modVis replST delST">
          <ac:chgData name="Jivani, Yash" userId="d3219360-dc34-4c5d-aaa0-47f172547215" providerId="ADAL" clId="{4734F14E-700E-43BE-8802-134898EA49E2}" dt="2023-03-08T18:44:27.604" v="4403"/>
          <ac:graphicFrameMkLst>
            <pc:docMk/>
            <pc:sldMk cId="2326452020" sldId="316"/>
            <ac:graphicFrameMk id="4" creationId="{A281D290-66A5-A768-15FC-14DC183FF1F9}"/>
          </ac:graphicFrameMkLst>
        </pc:graphicFrameChg>
        <pc:graphicFrameChg chg="add mod ord modVis replST">
          <ac:chgData name="Jivani, Yash" userId="d3219360-dc34-4c5d-aaa0-47f172547215" providerId="ADAL" clId="{4734F14E-700E-43BE-8802-134898EA49E2}" dt="2023-03-08T18:44:37.751" v="4889"/>
          <ac:graphicFrameMkLst>
            <pc:docMk/>
            <pc:sldMk cId="2326452020" sldId="316"/>
            <ac:graphicFrameMk id="5" creationId="{0463AD7D-90C6-85B1-B943-76E30F184AA3}"/>
          </ac:graphicFrameMkLst>
        </pc:graphicFrameChg>
      </pc:sldChg>
      <pc:sldChg chg="addSp delSp modSp new add del mod">
        <pc:chgData name="Jivani, Yash" userId="d3219360-dc34-4c5d-aaa0-47f172547215" providerId="ADAL" clId="{4734F14E-700E-43BE-8802-134898EA49E2}" dt="2023-03-08T18:08:53.495" v="2583" actId="47"/>
        <pc:sldMkLst>
          <pc:docMk/>
          <pc:sldMk cId="3796575126" sldId="316"/>
        </pc:sldMkLst>
        <pc:spChg chg="mod">
          <ac:chgData name="Jivani, Yash" userId="d3219360-dc34-4c5d-aaa0-47f172547215" providerId="ADAL" clId="{4734F14E-700E-43BE-8802-134898EA49E2}" dt="2023-03-08T18:03:54.877" v="2377" actId="948"/>
          <ac:spMkLst>
            <pc:docMk/>
            <pc:sldMk cId="3796575126" sldId="316"/>
            <ac:spMk id="2" creationId="{04C714F9-F01C-BBFA-DB7B-67AD755EDEE9}"/>
          </ac:spMkLst>
        </pc:spChg>
        <pc:spChg chg="mod">
          <ac:chgData name="Jivani, Yash" userId="d3219360-dc34-4c5d-aaa0-47f172547215" providerId="ADAL" clId="{4734F14E-700E-43BE-8802-134898EA49E2}" dt="2023-03-08T18:04:04.397" v="2435"/>
          <ac:spMkLst>
            <pc:docMk/>
            <pc:sldMk cId="3796575126" sldId="316"/>
            <ac:spMk id="3" creationId="{CB5FFA15-88D1-63B4-8DCA-681E889F4BDA}"/>
          </ac:spMkLst>
        </pc:spChg>
        <pc:spChg chg="add del mod modVis">
          <ac:chgData name="Jivani, Yash" userId="d3219360-dc34-4c5d-aaa0-47f172547215" providerId="ADAL" clId="{4734F14E-700E-43BE-8802-134898EA49E2}" dt="2023-03-08T18:03:54.912" v="2418"/>
          <ac:spMkLst>
            <pc:docMk/>
            <pc:sldMk cId="3796575126" sldId="316"/>
            <ac:spMk id="4" creationId="{845650B5-CCE4-3AB8-9E93-ECCDBA41F141}"/>
          </ac:spMkLst>
        </pc:spChg>
        <pc:graphicFrameChg chg="add mod ord modVis replST">
          <ac:chgData name="Jivani, Yash" userId="d3219360-dc34-4c5d-aaa0-47f172547215" providerId="ADAL" clId="{4734F14E-700E-43BE-8802-134898EA49E2}" dt="2023-03-08T18:03:54.936" v="2434"/>
          <ac:graphicFrameMkLst>
            <pc:docMk/>
            <pc:sldMk cId="3796575126" sldId="316"/>
            <ac:graphicFrameMk id="5" creationId="{56B4EF5A-204E-50C0-74DE-C8108D873D08}"/>
          </ac:graphicFrameMkLst>
        </pc:graphicFrameChg>
      </pc:sldChg>
      <pc:sldChg chg="addSp delSp modSp new add del mod setBg delDesignElem">
        <pc:chgData name="Jivani, Yash" userId="d3219360-dc34-4c5d-aaa0-47f172547215" providerId="ADAL" clId="{4734F14E-700E-43BE-8802-134898EA49E2}" dt="2023-03-08T18:47:31.204" v="6058" actId="47"/>
        <pc:sldMkLst>
          <pc:docMk/>
          <pc:sldMk cId="2787282956" sldId="317"/>
        </pc:sldMkLst>
        <pc:spChg chg="mod">
          <ac:chgData name="Jivani, Yash" userId="d3219360-dc34-4c5d-aaa0-47f172547215" providerId="ADAL" clId="{4734F14E-700E-43BE-8802-134898EA49E2}" dt="2023-03-08T18:45:33.360" v="5982" actId="948"/>
          <ac:spMkLst>
            <pc:docMk/>
            <pc:sldMk cId="2787282956" sldId="317"/>
            <ac:spMk id="2" creationId="{33823B90-9735-2683-3D5B-BD491839EEC2}"/>
          </ac:spMkLst>
        </pc:spChg>
        <pc:spChg chg="mod ord">
          <ac:chgData name="Jivani, Yash" userId="d3219360-dc34-4c5d-aaa0-47f172547215" providerId="ADAL" clId="{4734F14E-700E-43BE-8802-134898EA49E2}" dt="2023-03-08T18:46:19.705" v="6053" actId="1076"/>
          <ac:spMkLst>
            <pc:docMk/>
            <pc:sldMk cId="2787282956" sldId="317"/>
            <ac:spMk id="3" creationId="{DD767ACD-4F42-8115-099B-69F614EA580C}"/>
          </ac:spMkLst>
        </pc:spChg>
        <pc:spChg chg="add del mod">
          <ac:chgData name="Jivani, Yash" userId="d3219360-dc34-4c5d-aaa0-47f172547215" providerId="ADAL" clId="{4734F14E-700E-43BE-8802-134898EA49E2}" dt="2023-03-08T18:44:45.242" v="4960" actId="478"/>
          <ac:spMkLst>
            <pc:docMk/>
            <pc:sldMk cId="2787282956" sldId="317"/>
            <ac:spMk id="7" creationId="{3F9457F6-5E05-3F0F-D830-EECFFBFA982B}"/>
          </ac:spMkLst>
        </pc:spChg>
        <pc:spChg chg="add del mod modVis">
          <ac:chgData name="Jivani, Yash" userId="d3219360-dc34-4c5d-aaa0-47f172547215" providerId="ADAL" clId="{4734F14E-700E-43BE-8802-134898EA49E2}" dt="2023-03-08T18:44:43.741" v="4957"/>
          <ac:spMkLst>
            <pc:docMk/>
            <pc:sldMk cId="2787282956" sldId="317"/>
            <ac:spMk id="8" creationId="{3B4323F1-FA3B-9E77-0FD1-983E39AA0A94}"/>
          </ac:spMkLst>
        </pc:spChg>
        <pc:spChg chg="add del mod modVis">
          <ac:chgData name="Jivani, Yash" userId="d3219360-dc34-4c5d-aaa0-47f172547215" providerId="ADAL" clId="{4734F14E-700E-43BE-8802-134898EA49E2}" dt="2023-03-08T18:44:51.166" v="5018"/>
          <ac:spMkLst>
            <pc:docMk/>
            <pc:sldMk cId="2787282956" sldId="317"/>
            <ac:spMk id="9" creationId="{6F39D0B3-4B08-1110-A7DA-A666EB364C32}"/>
          </ac:spMkLst>
        </pc:spChg>
        <pc:spChg chg="add del">
          <ac:chgData name="Jivani, Yash" userId="d3219360-dc34-4c5d-aaa0-47f172547215" providerId="ADAL" clId="{4734F14E-700E-43BE-8802-134898EA49E2}" dt="2023-03-08T18:44:27.604" v="4403"/>
          <ac:spMkLst>
            <pc:docMk/>
            <pc:sldMk cId="2787282956" sldId="317"/>
            <ac:spMk id="10" creationId="{B712E947-0734-45F9-9C4F-41114EC3A33E}"/>
          </ac:spMkLst>
        </pc:spChg>
        <pc:spChg chg="add del mod modVis">
          <ac:chgData name="Jivani, Yash" userId="d3219360-dc34-4c5d-aaa0-47f172547215" providerId="ADAL" clId="{4734F14E-700E-43BE-8802-134898EA49E2}" dt="2023-03-08T18:45:02.909" v="5069"/>
          <ac:spMkLst>
            <pc:docMk/>
            <pc:sldMk cId="2787282956" sldId="317"/>
            <ac:spMk id="11" creationId="{368AB8B6-0BAD-8887-C3EE-92D5FE0D48F9}"/>
          </ac:spMkLst>
        </pc:spChg>
        <pc:spChg chg="add del mod modVis">
          <ac:chgData name="Jivani, Yash" userId="d3219360-dc34-4c5d-aaa0-47f172547215" providerId="ADAL" clId="{4734F14E-700E-43BE-8802-134898EA49E2}" dt="2023-03-08T18:45:07.457" v="5139"/>
          <ac:spMkLst>
            <pc:docMk/>
            <pc:sldMk cId="2787282956" sldId="317"/>
            <ac:spMk id="16" creationId="{CBC7F4BB-C0EE-C588-2F9C-8C83C374BEC5}"/>
          </ac:spMkLst>
        </pc:spChg>
        <pc:spChg chg="add del mod modVis">
          <ac:chgData name="Jivani, Yash" userId="d3219360-dc34-4c5d-aaa0-47f172547215" providerId="ADAL" clId="{4734F14E-700E-43BE-8802-134898EA49E2}" dt="2023-03-08T18:45:12.601" v="5199"/>
          <ac:spMkLst>
            <pc:docMk/>
            <pc:sldMk cId="2787282956" sldId="317"/>
            <ac:spMk id="17" creationId="{16760155-F6DD-6803-037E-D43A003EF1A0}"/>
          </ac:spMkLst>
        </pc:spChg>
        <pc:spChg chg="add del mod modVis">
          <ac:chgData name="Jivani, Yash" userId="d3219360-dc34-4c5d-aaa0-47f172547215" providerId="ADAL" clId="{4734F14E-700E-43BE-8802-134898EA49E2}" dt="2023-03-08T18:45:14.769" v="5259"/>
          <ac:spMkLst>
            <pc:docMk/>
            <pc:sldMk cId="2787282956" sldId="317"/>
            <ac:spMk id="18" creationId="{BD7F8A43-DBAF-3825-C68A-8B8A2928B736}"/>
          </ac:spMkLst>
        </pc:spChg>
        <pc:spChg chg="add del mod modVis">
          <ac:chgData name="Jivani, Yash" userId="d3219360-dc34-4c5d-aaa0-47f172547215" providerId="ADAL" clId="{4734F14E-700E-43BE-8802-134898EA49E2}" dt="2023-03-08T18:45:31.101" v="5976" actId="962"/>
          <ac:spMkLst>
            <pc:docMk/>
            <pc:sldMk cId="2787282956" sldId="317"/>
            <ac:spMk id="19" creationId="{E8AE6715-63A2-3EAA-5760-92183933BAA2}"/>
          </ac:spMkLst>
        </pc:spChg>
        <pc:spChg chg="add del mod modVis">
          <ac:chgData name="Jivani, Yash" userId="d3219360-dc34-4c5d-aaa0-47f172547215" providerId="ADAL" clId="{4734F14E-700E-43BE-8802-134898EA49E2}" dt="2023-03-08T18:45:30.625" v="5917" actId="962"/>
          <ac:spMkLst>
            <pc:docMk/>
            <pc:sldMk cId="2787282956" sldId="317"/>
            <ac:spMk id="20" creationId="{F415869B-8924-F359-13A2-9A30F8218001}"/>
          </ac:spMkLst>
        </pc:spChg>
        <pc:spChg chg="add del mod modVis">
          <ac:chgData name="Jivani, Yash" userId="d3219360-dc34-4c5d-aaa0-47f172547215" providerId="ADAL" clId="{4734F14E-700E-43BE-8802-134898EA49E2}" dt="2023-03-08T18:45:29.956" v="5857" actId="962"/>
          <ac:spMkLst>
            <pc:docMk/>
            <pc:sldMk cId="2787282956" sldId="317"/>
            <ac:spMk id="21" creationId="{FE26D3DB-EC06-5C28-448E-818502F301D1}"/>
          </ac:spMkLst>
        </pc:spChg>
        <pc:spChg chg="add del mod modVis">
          <ac:chgData name="Jivani, Yash" userId="d3219360-dc34-4c5d-aaa0-47f172547215" providerId="ADAL" clId="{4734F14E-700E-43BE-8802-134898EA49E2}" dt="2023-03-08T18:45:29.456" v="5798" actId="962"/>
          <ac:spMkLst>
            <pc:docMk/>
            <pc:sldMk cId="2787282956" sldId="317"/>
            <ac:spMk id="22" creationId="{3A101BE0-3826-094B-91DE-E83CF0C23DE3}"/>
          </ac:spMkLst>
        </pc:spChg>
        <pc:spChg chg="add del mod modVis">
          <ac:chgData name="Jivani, Yash" userId="d3219360-dc34-4c5d-aaa0-47f172547215" providerId="ADAL" clId="{4734F14E-700E-43BE-8802-134898EA49E2}" dt="2023-03-08T18:45:28.973" v="5739" actId="962"/>
          <ac:spMkLst>
            <pc:docMk/>
            <pc:sldMk cId="2787282956" sldId="317"/>
            <ac:spMk id="23" creationId="{D2931BF3-378B-03F2-C0C3-7251B4B2BF55}"/>
          </ac:spMkLst>
        </pc:spChg>
        <pc:spChg chg="add del mod modVis">
          <ac:chgData name="Jivani, Yash" userId="d3219360-dc34-4c5d-aaa0-47f172547215" providerId="ADAL" clId="{4734F14E-700E-43BE-8802-134898EA49E2}" dt="2023-03-08T18:45:28.537" v="5680" actId="962"/>
          <ac:spMkLst>
            <pc:docMk/>
            <pc:sldMk cId="2787282956" sldId="317"/>
            <ac:spMk id="24" creationId="{1381F627-DE23-D6CD-ECF4-B1921ECBC9BB}"/>
          </ac:spMkLst>
        </pc:spChg>
        <pc:spChg chg="add del mod modVis">
          <ac:chgData name="Jivani, Yash" userId="d3219360-dc34-4c5d-aaa0-47f172547215" providerId="ADAL" clId="{4734F14E-700E-43BE-8802-134898EA49E2}" dt="2023-03-08T18:45:33.412" v="6038"/>
          <ac:spMkLst>
            <pc:docMk/>
            <pc:sldMk cId="2787282956" sldId="317"/>
            <ac:spMk id="25" creationId="{4EC35889-FF15-8D55-06D9-629B07C7EA8F}"/>
          </ac:spMkLst>
        </pc:spChg>
        <pc:grpChg chg="add del">
          <ac:chgData name="Jivani, Yash" userId="d3219360-dc34-4c5d-aaa0-47f172547215" providerId="ADAL" clId="{4734F14E-700E-43BE-8802-134898EA49E2}" dt="2023-03-08T18:44:27.604" v="4403"/>
          <ac:grpSpMkLst>
            <pc:docMk/>
            <pc:sldMk cId="2787282956" sldId="317"/>
            <ac:grpSpMk id="12" creationId="{12B3290A-D3BF-4B87-B55B-FD9A98B49727}"/>
          </ac:grpSpMkLst>
        </pc:grpChg>
        <pc:graphicFrameChg chg="add mod ord modVis replST">
          <ac:chgData name="Jivani, Yash" userId="d3219360-dc34-4c5d-aaa0-47f172547215" providerId="ADAL" clId="{4734F14E-700E-43BE-8802-134898EA49E2}" dt="2023-03-08T18:45:33.414" v="6040"/>
          <ac:graphicFrameMkLst>
            <pc:docMk/>
            <pc:sldMk cId="2787282956" sldId="317"/>
            <ac:graphicFrameMk id="6" creationId="{F42409D5-7E3E-C5A6-C3FF-6AAAEA3BCA8B}"/>
          </ac:graphicFrameMkLst>
        </pc:graphicFrameChg>
        <pc:picChg chg="add mod ord">
          <ac:chgData name="Jivani, Yash" userId="d3219360-dc34-4c5d-aaa0-47f172547215" providerId="ADAL" clId="{4734F14E-700E-43BE-8802-134898EA49E2}" dt="2023-03-08T18:46:00.513" v="6048" actId="1076"/>
          <ac:picMkLst>
            <pc:docMk/>
            <pc:sldMk cId="2787282956" sldId="317"/>
            <ac:picMk id="4" creationId="{E81E2E23-A41D-2D5E-461E-890030A4B97A}"/>
          </ac:picMkLst>
        </pc:picChg>
        <pc:picChg chg="add mod">
          <ac:chgData name="Jivani, Yash" userId="d3219360-dc34-4c5d-aaa0-47f172547215" providerId="ADAL" clId="{4734F14E-700E-43BE-8802-134898EA49E2}" dt="2023-03-08T18:45:53.730" v="6047" actId="1076"/>
          <ac:picMkLst>
            <pc:docMk/>
            <pc:sldMk cId="2787282956" sldId="317"/>
            <ac:picMk id="5" creationId="{0826FD4C-A031-4ADE-231C-7C07FE65A476}"/>
          </ac:picMkLst>
        </pc:picChg>
      </pc:sldChg>
      <pc:sldChg chg="addSp delSp modSp new add del mod">
        <pc:chgData name="Jivani, Yash" userId="d3219360-dc34-4c5d-aaa0-47f172547215" providerId="ADAL" clId="{4734F14E-700E-43BE-8802-134898EA49E2}" dt="2023-03-08T18:19:54.970" v="3580" actId="47"/>
        <pc:sldMkLst>
          <pc:docMk/>
          <pc:sldMk cId="3237163499" sldId="317"/>
        </pc:sldMkLst>
        <pc:spChg chg="mod">
          <ac:chgData name="Jivani, Yash" userId="d3219360-dc34-4c5d-aaa0-47f172547215" providerId="ADAL" clId="{4734F14E-700E-43BE-8802-134898EA49E2}" dt="2023-03-08T18:08:28.116" v="2550"/>
          <ac:spMkLst>
            <pc:docMk/>
            <pc:sldMk cId="3237163499" sldId="317"/>
            <ac:spMk id="2" creationId="{ED6AF3AB-DCF4-32EA-3B81-1D9E3E13F1F7}"/>
          </ac:spMkLst>
        </pc:spChg>
        <pc:spChg chg="mod">
          <ac:chgData name="Jivani, Yash" userId="d3219360-dc34-4c5d-aaa0-47f172547215" providerId="ADAL" clId="{4734F14E-700E-43BE-8802-134898EA49E2}" dt="2023-03-08T18:04:11.480" v="2438"/>
          <ac:spMkLst>
            <pc:docMk/>
            <pc:sldMk cId="3237163499" sldId="317"/>
            <ac:spMk id="3" creationId="{8E24F095-81AD-78B1-FFC4-D2A63B805206}"/>
          </ac:spMkLst>
        </pc:spChg>
        <pc:spChg chg="add del mod modVis">
          <ac:chgData name="Jivani, Yash" userId="d3219360-dc34-4c5d-aaa0-47f172547215" providerId="ADAL" clId="{4734F14E-700E-43BE-8802-134898EA49E2}" dt="2023-03-08T18:08:28.113" v="2548" actId="962"/>
          <ac:spMkLst>
            <pc:docMk/>
            <pc:sldMk cId="3237163499" sldId="317"/>
            <ac:spMk id="7" creationId="{5790C7B4-D265-ABC9-1521-2BBC44EB646A}"/>
          </ac:spMkLst>
        </pc:spChg>
        <pc:spChg chg="add del mod">
          <ac:chgData name="Jivani, Yash" userId="d3219360-dc34-4c5d-aaa0-47f172547215" providerId="ADAL" clId="{4734F14E-700E-43BE-8802-134898EA49E2}" dt="2023-03-08T18:19:52.694" v="3579" actId="478"/>
          <ac:spMkLst>
            <pc:docMk/>
            <pc:sldMk cId="3237163499" sldId="317"/>
            <ac:spMk id="11" creationId="{ADB1AFC9-46CF-4C8A-A50D-BF1DFBDCBFA9}"/>
          </ac:spMkLst>
        </pc:spChg>
        <pc:graphicFrameChg chg="add mod ord modVis replST delST">
          <ac:chgData name="Jivani, Yash" userId="d3219360-dc34-4c5d-aaa0-47f172547215" providerId="ADAL" clId="{4734F14E-700E-43BE-8802-134898EA49E2}" dt="2023-03-08T18:08:28.096" v="2510" actId="14100"/>
          <ac:graphicFrameMkLst>
            <pc:docMk/>
            <pc:sldMk cId="3237163499" sldId="317"/>
            <ac:graphicFrameMk id="8" creationId="{F322AD4C-8087-D69A-3D63-7CE341FF2E28}"/>
          </ac:graphicFrameMkLst>
        </pc:graphicFrameChg>
        <pc:graphicFrameChg chg="add mod ord modVis replST">
          <ac:chgData name="Jivani, Yash" userId="d3219360-dc34-4c5d-aaa0-47f172547215" providerId="ADAL" clId="{4734F14E-700E-43BE-8802-134898EA49E2}" dt="2023-03-08T18:08:28.197" v="2566"/>
          <ac:graphicFrameMkLst>
            <pc:docMk/>
            <pc:sldMk cId="3237163499" sldId="317"/>
            <ac:graphicFrameMk id="9" creationId="{F91F0FA6-7466-DF92-E6EC-083BFD025185}"/>
          </ac:graphicFrameMkLst>
        </pc:graphicFrameChg>
        <pc:graphicFrameChg chg="add mod ord modVis replST">
          <ac:chgData name="Jivani, Yash" userId="d3219360-dc34-4c5d-aaa0-47f172547215" providerId="ADAL" clId="{4734F14E-700E-43BE-8802-134898EA49E2}" dt="2023-03-08T18:08:28.261" v="2582"/>
          <ac:graphicFrameMkLst>
            <pc:docMk/>
            <pc:sldMk cId="3237163499" sldId="317"/>
            <ac:graphicFrameMk id="10" creationId="{82A82D13-3CA6-E65A-5C3C-C7F6D07381A3}"/>
          </ac:graphicFrameMkLst>
        </pc:graphicFrameChg>
        <pc:picChg chg="add mod">
          <ac:chgData name="Jivani, Yash" userId="d3219360-dc34-4c5d-aaa0-47f172547215" providerId="ADAL" clId="{4734F14E-700E-43BE-8802-134898EA49E2}" dt="2023-03-08T18:04:21.064" v="2439"/>
          <ac:picMkLst>
            <pc:docMk/>
            <pc:sldMk cId="3237163499" sldId="317"/>
            <ac:picMk id="4" creationId="{6DA64C35-399C-AD0F-3716-B4ECAFA3CB67}"/>
          </ac:picMkLst>
        </pc:picChg>
        <pc:picChg chg="add mod">
          <ac:chgData name="Jivani, Yash" userId="d3219360-dc34-4c5d-aaa0-47f172547215" providerId="ADAL" clId="{4734F14E-700E-43BE-8802-134898EA49E2}" dt="2023-03-08T18:07:59.293" v="2441"/>
          <ac:picMkLst>
            <pc:docMk/>
            <pc:sldMk cId="3237163499" sldId="317"/>
            <ac:picMk id="5" creationId="{FAB961CD-EC31-4A2C-D2EF-D6596B9E5C3B}"/>
          </ac:picMkLst>
        </pc:picChg>
        <pc:picChg chg="add mod">
          <ac:chgData name="Jivani, Yash" userId="d3219360-dc34-4c5d-aaa0-47f172547215" providerId="ADAL" clId="{4734F14E-700E-43BE-8802-134898EA49E2}" dt="2023-03-08T18:08:08.933" v="2442"/>
          <ac:picMkLst>
            <pc:docMk/>
            <pc:sldMk cId="3237163499" sldId="317"/>
            <ac:picMk id="6" creationId="{57F20616-9F6E-557D-618C-C825AE1CE897}"/>
          </ac:picMkLst>
        </pc:picChg>
      </pc:sldChg>
      <pc:sldChg chg="addSp delSp modSp new add mod">
        <pc:chgData name="Jivani, Yash" userId="d3219360-dc34-4c5d-aaa0-47f172547215" providerId="ADAL" clId="{4734F14E-700E-43BE-8802-134898EA49E2}" dt="2023-03-08T20:30:50.782" v="6689" actId="21"/>
        <pc:sldMkLst>
          <pc:docMk/>
          <pc:sldMk cId="1242289728" sldId="318"/>
        </pc:sldMkLst>
        <pc:spChg chg="add mod">
          <ac:chgData name="Jivani, Yash" userId="d3219360-dc34-4c5d-aaa0-47f172547215" providerId="ADAL" clId="{4734F14E-700E-43BE-8802-134898EA49E2}" dt="2023-03-08T20:00:20.544" v="6466" actId="20577"/>
          <ac:spMkLst>
            <pc:docMk/>
            <pc:sldMk cId="1242289728" sldId="318"/>
            <ac:spMk id="4" creationId="{D60B016D-6297-DF65-DB68-E6FB3F68973B}"/>
          </ac:spMkLst>
        </pc:spChg>
        <pc:spChg chg="add mod">
          <ac:chgData name="Jivani, Yash" userId="d3219360-dc34-4c5d-aaa0-47f172547215" providerId="ADAL" clId="{4734F14E-700E-43BE-8802-134898EA49E2}" dt="2023-03-08T19:12:12.347" v="6299" actId="1076"/>
          <ac:spMkLst>
            <pc:docMk/>
            <pc:sldMk cId="1242289728" sldId="318"/>
            <ac:spMk id="7" creationId="{1EC42C2F-0608-12FA-435B-BE385562E8A2}"/>
          </ac:spMkLst>
        </pc:spChg>
        <pc:spChg chg="del mod">
          <ac:chgData name="Jivani, Yash" userId="d3219360-dc34-4c5d-aaa0-47f172547215" providerId="ADAL" clId="{4734F14E-700E-43BE-8802-134898EA49E2}" dt="2023-03-08T18:56:42.243" v="6161" actId="478"/>
          <ac:spMkLst>
            <pc:docMk/>
            <pc:sldMk cId="1242289728" sldId="318"/>
            <ac:spMk id="11" creationId="{8B5F37B7-4F1B-E402-9CD7-349A8D102995}"/>
          </ac:spMkLst>
        </pc:spChg>
        <pc:spChg chg="add mod">
          <ac:chgData name="Jivani, Yash" userId="d3219360-dc34-4c5d-aaa0-47f172547215" providerId="ADAL" clId="{4734F14E-700E-43BE-8802-134898EA49E2}" dt="2023-03-08T18:56:36.782" v="6159"/>
          <ac:spMkLst>
            <pc:docMk/>
            <pc:sldMk cId="1242289728" sldId="318"/>
            <ac:spMk id="14" creationId="{21F21465-B52A-780F-9E13-585D6463DEE1}"/>
          </ac:spMkLst>
        </pc:spChg>
        <pc:spChg chg="add del mod">
          <ac:chgData name="Jivani, Yash" userId="d3219360-dc34-4c5d-aaa0-47f172547215" providerId="ADAL" clId="{4734F14E-700E-43BE-8802-134898EA49E2}" dt="2023-03-08T18:56:44.636" v="6163"/>
          <ac:spMkLst>
            <pc:docMk/>
            <pc:sldMk cId="1242289728" sldId="318"/>
            <ac:spMk id="15" creationId="{65B44227-7111-97E5-FE23-FD94382A184A}"/>
          </ac:spMkLst>
        </pc:spChg>
        <pc:spChg chg="add mod">
          <ac:chgData name="Jivani, Yash" userId="d3219360-dc34-4c5d-aaa0-47f172547215" providerId="ADAL" clId="{4734F14E-700E-43BE-8802-134898EA49E2}" dt="2023-03-08T18:56:56.886" v="6167"/>
          <ac:spMkLst>
            <pc:docMk/>
            <pc:sldMk cId="1242289728" sldId="318"/>
            <ac:spMk id="18" creationId="{BE706919-F72C-520C-5575-11B7AC1022C8}"/>
          </ac:spMkLst>
        </pc:spChg>
        <pc:spChg chg="add del mod">
          <ac:chgData name="Jivani, Yash" userId="d3219360-dc34-4c5d-aaa0-47f172547215" providerId="ADAL" clId="{4734F14E-700E-43BE-8802-134898EA49E2}" dt="2023-03-08T20:30:50.782" v="6689" actId="21"/>
          <ac:spMkLst>
            <pc:docMk/>
            <pc:sldMk cId="1242289728" sldId="318"/>
            <ac:spMk id="19" creationId="{F345F08B-78E6-2523-0331-D7FA5BD37EBC}"/>
          </ac:spMkLst>
        </pc:spChg>
        <pc:grpChg chg="add mod">
          <ac:chgData name="Jivani, Yash" userId="d3219360-dc34-4c5d-aaa0-47f172547215" providerId="ADAL" clId="{4734F14E-700E-43BE-8802-134898EA49E2}" dt="2023-03-08T19:11:12.940" v="6281" actId="1076"/>
          <ac:grpSpMkLst>
            <pc:docMk/>
            <pc:sldMk cId="1242289728" sldId="318"/>
            <ac:grpSpMk id="12" creationId="{CC1F792E-A4EA-DE73-B9C7-FE13C834FCF1}"/>
          </ac:grpSpMkLst>
        </pc:grpChg>
        <pc:grpChg chg="add mod">
          <ac:chgData name="Jivani, Yash" userId="d3219360-dc34-4c5d-aaa0-47f172547215" providerId="ADAL" clId="{4734F14E-700E-43BE-8802-134898EA49E2}" dt="2023-03-08T19:11:12.940" v="6281" actId="1076"/>
          <ac:grpSpMkLst>
            <pc:docMk/>
            <pc:sldMk cId="1242289728" sldId="318"/>
            <ac:grpSpMk id="13" creationId="{8953B5E8-AD47-57F6-79BF-B8835498317E}"/>
          </ac:grpSpMkLst>
        </pc:grpChg>
        <pc:graphicFrameChg chg="add mod ord modVis replST">
          <ac:chgData name="Jivani, Yash" userId="d3219360-dc34-4c5d-aaa0-47f172547215" providerId="ADAL" clId="{4734F14E-700E-43BE-8802-134898EA49E2}" dt="2023-03-08T18:47:39.766" v="6076"/>
          <ac:graphicFrameMkLst>
            <pc:docMk/>
            <pc:sldMk cId="1242289728" sldId="318"/>
            <ac:graphicFrameMk id="8" creationId="{3F050D93-1130-27F0-D5DC-436A985C2694}"/>
          </ac:graphicFrameMkLst>
        </pc:graphicFrameChg>
        <pc:picChg chg="add mod">
          <ac:chgData name="Jivani, Yash" userId="d3219360-dc34-4c5d-aaa0-47f172547215" providerId="ADAL" clId="{4734F14E-700E-43BE-8802-134898EA49E2}" dt="2023-03-08T18:53:56.831" v="6144" actId="164"/>
          <ac:picMkLst>
            <pc:docMk/>
            <pc:sldMk cId="1242289728" sldId="318"/>
            <ac:picMk id="5" creationId="{44F869AE-8987-CB73-297E-89AA3FB3D659}"/>
          </ac:picMkLst>
        </pc:picChg>
        <pc:picChg chg="add mod">
          <ac:chgData name="Jivani, Yash" userId="d3219360-dc34-4c5d-aaa0-47f172547215" providerId="ADAL" clId="{4734F14E-700E-43BE-8802-134898EA49E2}" dt="2023-03-08T18:53:53.496" v="6143" actId="164"/>
          <ac:picMkLst>
            <pc:docMk/>
            <pc:sldMk cId="1242289728" sldId="318"/>
            <ac:picMk id="6" creationId="{6DD13087-F6B0-3F89-8115-58FD40C27094}"/>
          </ac:picMkLst>
        </pc:picChg>
        <pc:picChg chg="add mod">
          <ac:chgData name="Jivani, Yash" userId="d3219360-dc34-4c5d-aaa0-47f172547215" providerId="ADAL" clId="{4734F14E-700E-43BE-8802-134898EA49E2}" dt="2023-03-08T18:53:53.496" v="6143" actId="164"/>
          <ac:picMkLst>
            <pc:docMk/>
            <pc:sldMk cId="1242289728" sldId="318"/>
            <ac:picMk id="9" creationId="{0C40F904-835D-1494-D42E-9BFFDA2D55C2}"/>
          </ac:picMkLst>
        </pc:picChg>
        <pc:picChg chg="add mod">
          <ac:chgData name="Jivani, Yash" userId="d3219360-dc34-4c5d-aaa0-47f172547215" providerId="ADAL" clId="{4734F14E-700E-43BE-8802-134898EA49E2}" dt="2023-03-08T18:53:56.831" v="6144" actId="164"/>
          <ac:picMkLst>
            <pc:docMk/>
            <pc:sldMk cId="1242289728" sldId="318"/>
            <ac:picMk id="10" creationId="{FC3D20C0-97F0-AEB5-6F2A-C3C8E1688086}"/>
          </ac:picMkLst>
        </pc:picChg>
        <pc:picChg chg="add del">
          <ac:chgData name="Jivani, Yash" userId="d3219360-dc34-4c5d-aaa0-47f172547215" providerId="ADAL" clId="{4734F14E-700E-43BE-8802-134898EA49E2}" dt="2023-03-08T18:56:50.152" v="6166" actId="478"/>
          <ac:picMkLst>
            <pc:docMk/>
            <pc:sldMk cId="1242289728" sldId="318"/>
            <ac:picMk id="17" creationId="{0A523BBC-D4D9-C31C-72BB-ADAE32F3F318}"/>
          </ac:picMkLst>
        </pc:picChg>
      </pc:sldChg>
      <pc:sldChg chg="addSp delSp modSp new add del mod">
        <pc:chgData name="Jivani, Yash" userId="d3219360-dc34-4c5d-aaa0-47f172547215" providerId="ADAL" clId="{4734F14E-700E-43BE-8802-134898EA49E2}" dt="2023-03-08T18:13:01.229" v="2772" actId="47"/>
        <pc:sldMkLst>
          <pc:docMk/>
          <pc:sldMk cId="2371922148" sldId="318"/>
        </pc:sldMkLst>
        <pc:spChg chg="mod">
          <ac:chgData name="Jivani, Yash" userId="d3219360-dc34-4c5d-aaa0-47f172547215" providerId="ADAL" clId="{4734F14E-700E-43BE-8802-134898EA49E2}" dt="2023-03-08T18:12:52.094" v="2712" actId="948"/>
          <ac:spMkLst>
            <pc:docMk/>
            <pc:sldMk cId="2371922148" sldId="318"/>
            <ac:spMk id="2" creationId="{17F06B86-583C-6D9D-55D9-22631E58FA98}"/>
          </ac:spMkLst>
        </pc:spChg>
        <pc:spChg chg="add del mod modVis">
          <ac:chgData name="Jivani, Yash" userId="d3219360-dc34-4c5d-aaa0-47f172547215" providerId="ADAL" clId="{4734F14E-700E-43BE-8802-134898EA49E2}" dt="2023-03-08T18:12:52.128" v="2753"/>
          <ac:spMkLst>
            <pc:docMk/>
            <pc:sldMk cId="2371922148" sldId="318"/>
            <ac:spMk id="4" creationId="{0A2BB84A-8EEE-2F11-890C-EA9E8F7CF0D4}"/>
          </ac:spMkLst>
        </pc:spChg>
        <pc:graphicFrameChg chg="add mod ord modVis replST">
          <ac:chgData name="Jivani, Yash" userId="d3219360-dc34-4c5d-aaa0-47f172547215" providerId="ADAL" clId="{4734F14E-700E-43BE-8802-134898EA49E2}" dt="2023-03-08T18:12:52.154" v="2769"/>
          <ac:graphicFrameMkLst>
            <pc:docMk/>
            <pc:sldMk cId="2371922148" sldId="318"/>
            <ac:graphicFrameMk id="5" creationId="{ABB96F3D-E01E-9D60-8DA9-F2505D9FE776}"/>
          </ac:graphicFrameMkLst>
        </pc:graphicFrameChg>
      </pc:sldChg>
      <pc:sldChg chg="addSp delSp modSp new add del mod">
        <pc:chgData name="Jivani, Yash" userId="d3219360-dc34-4c5d-aaa0-47f172547215" providerId="ADAL" clId="{4734F14E-700E-43BE-8802-134898EA49E2}" dt="2023-03-08T18:12:25.566" v="2708" actId="47"/>
        <pc:sldMkLst>
          <pc:docMk/>
          <pc:sldMk cId="2498206591" sldId="318"/>
        </pc:sldMkLst>
        <pc:spChg chg="del">
          <ac:chgData name="Jivani, Yash" userId="d3219360-dc34-4c5d-aaa0-47f172547215" providerId="ADAL" clId="{4734F14E-700E-43BE-8802-134898EA49E2}" dt="2023-03-08T18:10:00.238" v="2702"/>
          <ac:spMkLst>
            <pc:docMk/>
            <pc:sldMk cId="2498206591" sldId="318"/>
            <ac:spMk id="3" creationId="{3B4BB464-B29D-5BEB-BCBD-703572954250}"/>
          </ac:spMkLst>
        </pc:spChg>
        <pc:picChg chg="add mod">
          <ac:chgData name="Jivani, Yash" userId="d3219360-dc34-4c5d-aaa0-47f172547215" providerId="ADAL" clId="{4734F14E-700E-43BE-8802-134898EA49E2}" dt="2023-03-08T18:10:00.238" v="2702"/>
          <ac:picMkLst>
            <pc:docMk/>
            <pc:sldMk cId="2498206591" sldId="318"/>
            <ac:picMk id="4" creationId="{2C77B82F-420D-E3C0-8230-520456D4EFDD}"/>
          </ac:picMkLst>
        </pc:picChg>
        <pc:picChg chg="add mod">
          <ac:chgData name="Jivani, Yash" userId="d3219360-dc34-4c5d-aaa0-47f172547215" providerId="ADAL" clId="{4734F14E-700E-43BE-8802-134898EA49E2}" dt="2023-03-08T18:10:15.699" v="2704" actId="1076"/>
          <ac:picMkLst>
            <pc:docMk/>
            <pc:sldMk cId="2498206591" sldId="318"/>
            <ac:picMk id="5" creationId="{7D8E3C64-C1B0-C4BA-8A8C-9836186E2F52}"/>
          </ac:picMkLst>
        </pc:picChg>
        <pc:picChg chg="add mod">
          <ac:chgData name="Jivani, Yash" userId="d3219360-dc34-4c5d-aaa0-47f172547215" providerId="ADAL" clId="{4734F14E-700E-43BE-8802-134898EA49E2}" dt="2023-03-08T18:11:25.134" v="2707"/>
          <ac:picMkLst>
            <pc:docMk/>
            <pc:sldMk cId="2498206591" sldId="318"/>
            <ac:picMk id="6" creationId="{47DC42C7-245D-F55A-9B4E-F593E016682E}"/>
          </ac:picMkLst>
        </pc:picChg>
      </pc:sldChg>
      <pc:sldChg chg="addSp delSp modSp new add del mod">
        <pc:chgData name="Jivani, Yash" userId="d3219360-dc34-4c5d-aaa0-47f172547215" providerId="ADAL" clId="{4734F14E-700E-43BE-8802-134898EA49E2}" dt="2023-03-08T18:09:40.936" v="2698" actId="47"/>
        <pc:sldMkLst>
          <pc:docMk/>
          <pc:sldMk cId="3548222829" sldId="318"/>
        </pc:sldMkLst>
        <pc:spChg chg="mod">
          <ac:chgData name="Jivani, Yash" userId="d3219360-dc34-4c5d-aaa0-47f172547215" providerId="ADAL" clId="{4734F14E-700E-43BE-8802-134898EA49E2}" dt="2023-03-08T18:09:11.144" v="2648" actId="948"/>
          <ac:spMkLst>
            <pc:docMk/>
            <pc:sldMk cId="3548222829" sldId="318"/>
            <ac:spMk id="2" creationId="{8858ECEC-66A4-7385-D530-D4F1FDFB45DA}"/>
          </ac:spMkLst>
        </pc:spChg>
        <pc:spChg chg="mod">
          <ac:chgData name="Jivani, Yash" userId="d3219360-dc34-4c5d-aaa0-47f172547215" providerId="ADAL" clId="{4734F14E-700E-43BE-8802-134898EA49E2}" dt="2023-03-08T18:09:21.988" v="2695" actId="20577"/>
          <ac:spMkLst>
            <pc:docMk/>
            <pc:sldMk cId="3548222829" sldId="318"/>
            <ac:spMk id="3" creationId="{82948444-50AD-0315-2BCA-076FEE1AFAF5}"/>
          </ac:spMkLst>
        </pc:spChg>
        <pc:spChg chg="add del mod modVis">
          <ac:chgData name="Jivani, Yash" userId="d3219360-dc34-4c5d-aaa0-47f172547215" providerId="ADAL" clId="{4734F14E-700E-43BE-8802-134898EA49E2}" dt="2023-03-08T18:09:07.913" v="2629"/>
          <ac:spMkLst>
            <pc:docMk/>
            <pc:sldMk cId="3548222829" sldId="318"/>
            <ac:spMk id="4" creationId="{2938C4AF-190F-0B06-C25B-39637244250D}"/>
          </ac:spMkLst>
        </pc:spChg>
        <pc:spChg chg="add del mod modVis">
          <ac:chgData name="Jivani, Yash" userId="d3219360-dc34-4c5d-aaa0-47f172547215" providerId="ADAL" clId="{4734F14E-700E-43BE-8802-134898EA49E2}" dt="2023-03-08T18:09:11.187" v="2689"/>
          <ac:spMkLst>
            <pc:docMk/>
            <pc:sldMk cId="3548222829" sldId="318"/>
            <ac:spMk id="6" creationId="{9E1F62CD-B8D1-9C93-B9CC-1FAC273F5E85}"/>
          </ac:spMkLst>
        </pc:spChg>
        <pc:graphicFrameChg chg="add mod ord modVis replST">
          <ac:chgData name="Jivani, Yash" userId="d3219360-dc34-4c5d-aaa0-47f172547215" providerId="ADAL" clId="{4734F14E-700E-43BE-8802-134898EA49E2}" dt="2023-03-08T18:09:11.190" v="2691"/>
          <ac:graphicFrameMkLst>
            <pc:docMk/>
            <pc:sldMk cId="3548222829" sldId="318"/>
            <ac:graphicFrameMk id="5" creationId="{92CEF1B9-5D02-4AC1-5521-849DB7E4234E}"/>
          </ac:graphicFrameMkLst>
        </pc:graphicFrameChg>
        <pc:picChg chg="add del mod">
          <ac:chgData name="Jivani, Yash" userId="d3219360-dc34-4c5d-aaa0-47f172547215" providerId="ADAL" clId="{4734F14E-700E-43BE-8802-134898EA49E2}" dt="2023-03-08T18:09:35.954" v="2697" actId="478"/>
          <ac:picMkLst>
            <pc:docMk/>
            <pc:sldMk cId="3548222829" sldId="318"/>
            <ac:picMk id="7" creationId="{657DE042-3354-ED0D-3B71-A3822C3FE488}"/>
          </ac:picMkLst>
        </pc:picChg>
      </pc:sldChg>
      <pc:sldChg chg="addSp delSp modSp new add del mod">
        <pc:chgData name="Jivani, Yash" userId="d3219360-dc34-4c5d-aaa0-47f172547215" providerId="ADAL" clId="{4734F14E-700E-43BE-8802-134898EA49E2}" dt="2023-03-08T18:14:00.004" v="3204" actId="47"/>
        <pc:sldMkLst>
          <pc:docMk/>
          <pc:sldMk cId="3611144475" sldId="318"/>
        </pc:sldMkLst>
        <pc:spChg chg="mod">
          <ac:chgData name="Jivani, Yash" userId="d3219360-dc34-4c5d-aaa0-47f172547215" providerId="ADAL" clId="{4734F14E-700E-43BE-8802-134898EA49E2}" dt="2023-03-08T18:13:20.580" v="2836" actId="948"/>
          <ac:spMkLst>
            <pc:docMk/>
            <pc:sldMk cId="3611144475" sldId="318"/>
            <ac:spMk id="2" creationId="{313D32EC-0244-375F-584E-9EA917E47AE9}"/>
          </ac:spMkLst>
        </pc:spChg>
        <pc:spChg chg="add del mod modVis">
          <ac:chgData name="Jivani, Yash" userId="d3219360-dc34-4c5d-aaa0-47f172547215" providerId="ADAL" clId="{4734F14E-700E-43BE-8802-134898EA49E2}" dt="2023-03-08T18:13:20.623" v="2877"/>
          <ac:spMkLst>
            <pc:docMk/>
            <pc:sldMk cId="3611144475" sldId="318"/>
            <ac:spMk id="4" creationId="{B7A5A609-241C-172E-9201-30DB0C6532F0}"/>
          </ac:spMkLst>
        </pc:spChg>
        <pc:graphicFrameChg chg="add mod ord modVis replST">
          <ac:chgData name="Jivani, Yash" userId="d3219360-dc34-4c5d-aaa0-47f172547215" providerId="ADAL" clId="{4734F14E-700E-43BE-8802-134898EA49E2}" dt="2023-03-08T18:13:20.655" v="2893"/>
          <ac:graphicFrameMkLst>
            <pc:docMk/>
            <pc:sldMk cId="3611144475" sldId="318"/>
            <ac:graphicFrameMk id="5" creationId="{D329DB5B-A996-9F6B-C145-180A929E09F1}"/>
          </ac:graphicFrameMkLst>
        </pc:graphicFrameChg>
      </pc:sldChg>
      <pc:sldChg chg="addSp delSp modSp new add del mod">
        <pc:chgData name="Jivani, Yash" userId="d3219360-dc34-4c5d-aaa0-47f172547215" providerId="ADAL" clId="{4734F14E-700E-43BE-8802-134898EA49E2}" dt="2023-03-08T18:15:20.253" v="3503" actId="47"/>
        <pc:sldMkLst>
          <pc:docMk/>
          <pc:sldMk cId="3778228484" sldId="318"/>
        </pc:sldMkLst>
        <pc:spChg chg="mod">
          <ac:chgData name="Jivani, Yash" userId="d3219360-dc34-4c5d-aaa0-47f172547215" providerId="ADAL" clId="{4734F14E-700E-43BE-8802-134898EA49E2}" dt="2023-03-08T18:14:30.574" v="3296" actId="948"/>
          <ac:spMkLst>
            <pc:docMk/>
            <pc:sldMk cId="3778228484" sldId="318"/>
            <ac:spMk id="2" creationId="{05F48B88-5743-08AD-57F1-684916FB7E35}"/>
          </ac:spMkLst>
        </pc:spChg>
        <pc:spChg chg="mod">
          <ac:chgData name="Jivani, Yash" userId="d3219360-dc34-4c5d-aaa0-47f172547215" providerId="ADAL" clId="{4734F14E-700E-43BE-8802-134898EA49E2}" dt="2023-03-08T18:14:38.898" v="3350" actId="20577"/>
          <ac:spMkLst>
            <pc:docMk/>
            <pc:sldMk cId="3778228484" sldId="318"/>
            <ac:spMk id="3" creationId="{946D90C4-4A20-8E1D-0AF4-E87CEAE85B31}"/>
          </ac:spMkLst>
        </pc:spChg>
        <pc:spChg chg="add del mod modVis">
          <ac:chgData name="Jivani, Yash" userId="d3219360-dc34-4c5d-aaa0-47f172547215" providerId="ADAL" clId="{4734F14E-700E-43BE-8802-134898EA49E2}" dt="2023-03-08T18:14:24.209" v="3263"/>
          <ac:spMkLst>
            <pc:docMk/>
            <pc:sldMk cId="3778228484" sldId="318"/>
            <ac:spMk id="4" creationId="{0CA05DB4-A860-A058-0C26-4D8C1BF0B56E}"/>
          </ac:spMkLst>
        </pc:spChg>
        <pc:spChg chg="add del mod modVis">
          <ac:chgData name="Jivani, Yash" userId="d3219360-dc34-4c5d-aaa0-47f172547215" providerId="ADAL" clId="{4734F14E-700E-43BE-8802-134898EA49E2}" dt="2023-03-08T18:14:30.618" v="3337"/>
          <ac:spMkLst>
            <pc:docMk/>
            <pc:sldMk cId="3778228484" sldId="318"/>
            <ac:spMk id="6" creationId="{9E58CEF3-4E6F-759F-9A2B-E87C8415C575}"/>
          </ac:spMkLst>
        </pc:spChg>
        <pc:graphicFrameChg chg="add mod ord modVis replST">
          <ac:chgData name="Jivani, Yash" userId="d3219360-dc34-4c5d-aaa0-47f172547215" providerId="ADAL" clId="{4734F14E-700E-43BE-8802-134898EA49E2}" dt="2023-03-08T18:14:30.620" v="3339"/>
          <ac:graphicFrameMkLst>
            <pc:docMk/>
            <pc:sldMk cId="3778228484" sldId="318"/>
            <ac:graphicFrameMk id="5" creationId="{9D672126-9F5C-413B-2A5F-91C026DFF406}"/>
          </ac:graphicFrameMkLst>
        </pc:graphicFrameChg>
        <pc:picChg chg="add mod">
          <ac:chgData name="Jivani, Yash" userId="d3219360-dc34-4c5d-aaa0-47f172547215" providerId="ADAL" clId="{4734F14E-700E-43BE-8802-134898EA49E2}" dt="2023-03-08T18:14:42.863" v="3351"/>
          <ac:picMkLst>
            <pc:docMk/>
            <pc:sldMk cId="3778228484" sldId="318"/>
            <ac:picMk id="7" creationId="{EFDD36A8-76FB-49B4-E219-D2E51118B91D}"/>
          </ac:picMkLst>
        </pc:picChg>
      </pc:sldChg>
      <pc:sldChg chg="addSp delSp modSp new add del mod">
        <pc:chgData name="Jivani, Yash" userId="d3219360-dc34-4c5d-aaa0-47f172547215" providerId="ADAL" clId="{4734F14E-700E-43BE-8802-134898EA49E2}" dt="2023-03-08T18:13:12.578" v="2832" actId="47"/>
        <pc:sldMkLst>
          <pc:docMk/>
          <pc:sldMk cId="866459128" sldId="319"/>
        </pc:sldMkLst>
        <pc:spChg chg="mod">
          <ac:chgData name="Jivani, Yash" userId="d3219360-dc34-4c5d-aaa0-47f172547215" providerId="ADAL" clId="{4734F14E-700E-43BE-8802-134898EA49E2}" dt="2023-03-08T18:13:05.956" v="2774" actId="948"/>
          <ac:spMkLst>
            <pc:docMk/>
            <pc:sldMk cId="866459128" sldId="319"/>
            <ac:spMk id="2" creationId="{BF73DE10-8708-A436-8367-0B75FC4C4B26}"/>
          </ac:spMkLst>
        </pc:spChg>
        <pc:spChg chg="add del mod modVis">
          <ac:chgData name="Jivani, Yash" userId="d3219360-dc34-4c5d-aaa0-47f172547215" providerId="ADAL" clId="{4734F14E-700E-43BE-8802-134898EA49E2}" dt="2023-03-08T18:13:06.015" v="2815"/>
          <ac:spMkLst>
            <pc:docMk/>
            <pc:sldMk cId="866459128" sldId="319"/>
            <ac:spMk id="4" creationId="{F3EEFC2D-B1AE-88F1-59A0-B135495FE2AA}"/>
          </ac:spMkLst>
        </pc:spChg>
        <pc:graphicFrameChg chg="add mod ord modVis replST">
          <ac:chgData name="Jivani, Yash" userId="d3219360-dc34-4c5d-aaa0-47f172547215" providerId="ADAL" clId="{4734F14E-700E-43BE-8802-134898EA49E2}" dt="2023-03-08T18:13:06.041" v="2831"/>
          <ac:graphicFrameMkLst>
            <pc:docMk/>
            <pc:sldMk cId="866459128" sldId="319"/>
            <ac:graphicFrameMk id="5" creationId="{F0B5E229-7648-B787-7152-6570CD62C034}"/>
          </ac:graphicFrameMkLst>
        </pc:graphicFrameChg>
      </pc:sldChg>
      <pc:sldChg chg="addSp delSp modSp new add del mod">
        <pc:chgData name="Jivani, Yash" userId="d3219360-dc34-4c5d-aaa0-47f172547215" providerId="ADAL" clId="{4734F14E-700E-43BE-8802-134898EA49E2}" dt="2023-03-08T18:14:00.004" v="3204" actId="47"/>
        <pc:sldMkLst>
          <pc:docMk/>
          <pc:sldMk cId="933808801" sldId="319"/>
        </pc:sldMkLst>
        <pc:spChg chg="mod">
          <ac:chgData name="Jivani, Yash" userId="d3219360-dc34-4c5d-aaa0-47f172547215" providerId="ADAL" clId="{4734F14E-700E-43BE-8802-134898EA49E2}" dt="2023-03-08T18:13:28.055" v="2897" actId="948"/>
          <ac:spMkLst>
            <pc:docMk/>
            <pc:sldMk cId="933808801" sldId="319"/>
            <ac:spMk id="2" creationId="{57D96B76-1975-4F82-2E22-A1F937647707}"/>
          </ac:spMkLst>
        </pc:spChg>
        <pc:spChg chg="add del mod modVis">
          <ac:chgData name="Jivani, Yash" userId="d3219360-dc34-4c5d-aaa0-47f172547215" providerId="ADAL" clId="{4734F14E-700E-43BE-8802-134898EA49E2}" dt="2023-03-08T18:13:28.088" v="2938"/>
          <ac:spMkLst>
            <pc:docMk/>
            <pc:sldMk cId="933808801" sldId="319"/>
            <ac:spMk id="4" creationId="{03AD61E8-5807-EE74-35A7-E79872B2C356}"/>
          </ac:spMkLst>
        </pc:spChg>
        <pc:graphicFrameChg chg="add mod ord modVis replST">
          <ac:chgData name="Jivani, Yash" userId="d3219360-dc34-4c5d-aaa0-47f172547215" providerId="ADAL" clId="{4734F14E-700E-43BE-8802-134898EA49E2}" dt="2023-03-08T18:13:28.112" v="2954"/>
          <ac:graphicFrameMkLst>
            <pc:docMk/>
            <pc:sldMk cId="933808801" sldId="319"/>
            <ac:graphicFrameMk id="5" creationId="{01C3E424-9F56-9584-306F-AB4FD4B04B6A}"/>
          </ac:graphicFrameMkLst>
        </pc:graphicFrameChg>
      </pc:sldChg>
      <pc:sldChg chg="addSp delSp modSp new add del mod">
        <pc:chgData name="Jivani, Yash" userId="d3219360-dc34-4c5d-aaa0-47f172547215" providerId="ADAL" clId="{4734F14E-700E-43BE-8802-134898EA49E2}" dt="2023-03-08T18:15:18.091" v="3502" actId="47"/>
        <pc:sldMkLst>
          <pc:docMk/>
          <pc:sldMk cId="1215402241" sldId="319"/>
        </pc:sldMkLst>
        <pc:spChg chg="mod">
          <ac:chgData name="Jivani, Yash" userId="d3219360-dc34-4c5d-aaa0-47f172547215" providerId="ADAL" clId="{4734F14E-700E-43BE-8802-134898EA49E2}" dt="2023-03-08T18:15:08.234" v="3501" actId="20577"/>
          <ac:spMkLst>
            <pc:docMk/>
            <pc:sldMk cId="1215402241" sldId="319"/>
            <ac:spMk id="2" creationId="{47F7EE05-3DC5-E427-847E-AAE71B63A695}"/>
          </ac:spMkLst>
        </pc:spChg>
        <pc:spChg chg="del">
          <ac:chgData name="Jivani, Yash" userId="d3219360-dc34-4c5d-aaa0-47f172547215" providerId="ADAL" clId="{4734F14E-700E-43BE-8802-134898EA49E2}" dt="2023-03-08T18:14:52.038" v="3354"/>
          <ac:spMkLst>
            <pc:docMk/>
            <pc:sldMk cId="1215402241" sldId="319"/>
            <ac:spMk id="3" creationId="{6CEA4772-6080-B33D-F80C-755733875497}"/>
          </ac:spMkLst>
        </pc:spChg>
        <pc:spChg chg="add del mod modVis">
          <ac:chgData name="Jivani, Yash" userId="d3219360-dc34-4c5d-aaa0-47f172547215" providerId="ADAL" clId="{4734F14E-700E-43BE-8802-134898EA49E2}" dt="2023-03-08T18:15:07.429" v="3478" actId="962"/>
          <ac:spMkLst>
            <pc:docMk/>
            <pc:sldMk cId="1215402241" sldId="319"/>
            <ac:spMk id="6" creationId="{8219BC6B-24DA-E03B-9AD6-607EE8B8EEA1}"/>
          </ac:spMkLst>
        </pc:spChg>
        <pc:graphicFrameChg chg="add mod ord modVis replST delST">
          <ac:chgData name="Jivani, Yash" userId="d3219360-dc34-4c5d-aaa0-47f172547215" providerId="ADAL" clId="{4734F14E-700E-43BE-8802-134898EA49E2}" dt="2023-03-08T18:15:08.224" v="3497" actId="14100"/>
          <ac:graphicFrameMkLst>
            <pc:docMk/>
            <pc:sldMk cId="1215402241" sldId="319"/>
            <ac:graphicFrameMk id="5" creationId="{0433C036-C45C-A7AF-87AF-E418E05A822D}"/>
          </ac:graphicFrameMkLst>
        </pc:graphicFrameChg>
        <pc:picChg chg="add mod">
          <ac:chgData name="Jivani, Yash" userId="d3219360-dc34-4c5d-aaa0-47f172547215" providerId="ADAL" clId="{4734F14E-700E-43BE-8802-134898EA49E2}" dt="2023-03-08T18:14:52.038" v="3354"/>
          <ac:picMkLst>
            <pc:docMk/>
            <pc:sldMk cId="1215402241" sldId="319"/>
            <ac:picMk id="4" creationId="{261E68AA-A213-492B-BFF5-CBBF324AF35A}"/>
          </ac:picMkLst>
        </pc:picChg>
      </pc:sldChg>
      <pc:sldChg chg="addSp modSp new add del">
        <pc:chgData name="Jivani, Yash" userId="d3219360-dc34-4c5d-aaa0-47f172547215" providerId="ADAL" clId="{4734F14E-700E-43BE-8802-134898EA49E2}" dt="2023-03-08T18:50:41.961" v="6080" actId="47"/>
        <pc:sldMkLst>
          <pc:docMk/>
          <pc:sldMk cId="1693596317" sldId="319"/>
        </pc:sldMkLst>
        <pc:spChg chg="add mod">
          <ac:chgData name="Jivani, Yash" userId="d3219360-dc34-4c5d-aaa0-47f172547215" providerId="ADAL" clId="{4734F14E-700E-43BE-8802-134898EA49E2}" dt="2023-03-08T18:48:08.969" v="6079"/>
          <ac:spMkLst>
            <pc:docMk/>
            <pc:sldMk cId="1693596317" sldId="319"/>
            <ac:spMk id="6" creationId="{537FC492-CA59-D8B2-46BC-583084A30B6D}"/>
          </ac:spMkLst>
        </pc:spChg>
        <pc:picChg chg="add mod">
          <ac:chgData name="Jivani, Yash" userId="d3219360-dc34-4c5d-aaa0-47f172547215" providerId="ADAL" clId="{4734F14E-700E-43BE-8802-134898EA49E2}" dt="2023-03-08T18:48:08.969" v="6079"/>
          <ac:picMkLst>
            <pc:docMk/>
            <pc:sldMk cId="1693596317" sldId="319"/>
            <ac:picMk id="4" creationId="{E97EC9DA-4406-9443-EEE3-BE60C9AF62FA}"/>
          </ac:picMkLst>
        </pc:picChg>
        <pc:picChg chg="add mod">
          <ac:chgData name="Jivani, Yash" userId="d3219360-dc34-4c5d-aaa0-47f172547215" providerId="ADAL" clId="{4734F14E-700E-43BE-8802-134898EA49E2}" dt="2023-03-08T18:48:08.969" v="6079"/>
          <ac:picMkLst>
            <pc:docMk/>
            <pc:sldMk cId="1693596317" sldId="319"/>
            <ac:picMk id="5" creationId="{C0B2A3C5-0F55-0237-6585-5A7FDFF248C0}"/>
          </ac:picMkLst>
        </pc:picChg>
      </pc:sldChg>
      <pc:sldChg chg="addSp delSp modSp new add mod">
        <pc:chgData name="Jivani, Yash" userId="d3219360-dc34-4c5d-aaa0-47f172547215" providerId="ADAL" clId="{4734F14E-700E-43BE-8802-134898EA49E2}" dt="2023-03-08T19:12:24.816" v="6303" actId="1076"/>
        <pc:sldMkLst>
          <pc:docMk/>
          <pc:sldMk cId="3618944500" sldId="319"/>
        </pc:sldMkLst>
        <pc:spChg chg="del">
          <ac:chgData name="Jivani, Yash" userId="d3219360-dc34-4c5d-aaa0-47f172547215" providerId="ADAL" clId="{4734F14E-700E-43BE-8802-134898EA49E2}" dt="2023-03-08T19:02:37.203" v="6197" actId="478"/>
          <ac:spMkLst>
            <pc:docMk/>
            <pc:sldMk cId="3618944500" sldId="319"/>
            <ac:spMk id="2" creationId="{E9A1C37B-4A10-5228-2CFA-2EB8CA5CB902}"/>
          </ac:spMkLst>
        </pc:spChg>
        <pc:spChg chg="del">
          <ac:chgData name="Jivani, Yash" userId="d3219360-dc34-4c5d-aaa0-47f172547215" providerId="ADAL" clId="{4734F14E-700E-43BE-8802-134898EA49E2}" dt="2023-03-08T19:02:36.069" v="6196" actId="478"/>
          <ac:spMkLst>
            <pc:docMk/>
            <pc:sldMk cId="3618944500" sldId="319"/>
            <ac:spMk id="3" creationId="{D4B36D15-8497-E4E2-7760-08909B855579}"/>
          </ac:spMkLst>
        </pc:spChg>
        <pc:spChg chg="add mod">
          <ac:chgData name="Jivani, Yash" userId="d3219360-dc34-4c5d-aaa0-47f172547215" providerId="ADAL" clId="{4734F14E-700E-43BE-8802-134898EA49E2}" dt="2023-03-08T19:03:12.383" v="6220"/>
          <ac:spMkLst>
            <pc:docMk/>
            <pc:sldMk cId="3618944500" sldId="319"/>
            <ac:spMk id="8" creationId="{76D9DC03-195C-E251-FA5E-D284D5D84BBC}"/>
          </ac:spMkLst>
        </pc:spChg>
        <pc:spChg chg="add mod">
          <ac:chgData name="Jivani, Yash" userId="d3219360-dc34-4c5d-aaa0-47f172547215" providerId="ADAL" clId="{4734F14E-700E-43BE-8802-134898EA49E2}" dt="2023-03-08T19:03:12.383" v="6220"/>
          <ac:spMkLst>
            <pc:docMk/>
            <pc:sldMk cId="3618944500" sldId="319"/>
            <ac:spMk id="9" creationId="{E77254D0-2C57-90A7-506B-A1CD87E402AF}"/>
          </ac:spMkLst>
        </pc:spChg>
        <pc:spChg chg="add mod">
          <ac:chgData name="Jivani, Yash" userId="d3219360-dc34-4c5d-aaa0-47f172547215" providerId="ADAL" clId="{4734F14E-700E-43BE-8802-134898EA49E2}" dt="2023-03-08T19:10:42.225" v="6277" actId="27636"/>
          <ac:spMkLst>
            <pc:docMk/>
            <pc:sldMk cId="3618944500" sldId="319"/>
            <ac:spMk id="10" creationId="{D313200F-A53D-F82A-2013-66790EDFB6C6}"/>
          </ac:spMkLst>
        </pc:spChg>
        <pc:spChg chg="add mod">
          <ac:chgData name="Jivani, Yash" userId="d3219360-dc34-4c5d-aaa0-47f172547215" providerId="ADAL" clId="{4734F14E-700E-43BE-8802-134898EA49E2}" dt="2023-03-08T19:12:24.816" v="6303" actId="1076"/>
          <ac:spMkLst>
            <pc:docMk/>
            <pc:sldMk cId="3618944500" sldId="319"/>
            <ac:spMk id="11" creationId="{D2CE1B86-9DF8-D023-A53B-05D201E034FC}"/>
          </ac:spMkLst>
        </pc:spChg>
        <pc:graphicFrameChg chg="add mod ord modVis replST">
          <ac:chgData name="Jivani, Yash" userId="d3219360-dc34-4c5d-aaa0-47f172547215" providerId="ADAL" clId="{4734F14E-700E-43BE-8802-134898EA49E2}" dt="2023-03-08T19:02:37.736" v="6215"/>
          <ac:graphicFrameMkLst>
            <pc:docMk/>
            <pc:sldMk cId="3618944500" sldId="319"/>
            <ac:graphicFrameMk id="5" creationId="{3055B8F2-6E4D-EB2F-5013-86B0F191208B}"/>
          </ac:graphicFrameMkLst>
        </pc:graphicFrameChg>
        <pc:picChg chg="add mod">
          <ac:chgData name="Jivani, Yash" userId="d3219360-dc34-4c5d-aaa0-47f172547215" providerId="ADAL" clId="{4734F14E-700E-43BE-8802-134898EA49E2}" dt="2023-03-08T19:03:30.913" v="6222" actId="14100"/>
          <ac:picMkLst>
            <pc:docMk/>
            <pc:sldMk cId="3618944500" sldId="319"/>
            <ac:picMk id="6" creationId="{E7FA203F-DCA7-7717-7A7B-7994BCDEA935}"/>
          </ac:picMkLst>
        </pc:picChg>
        <pc:picChg chg="add mod">
          <ac:chgData name="Jivani, Yash" userId="d3219360-dc34-4c5d-aaa0-47f172547215" providerId="ADAL" clId="{4734F14E-700E-43BE-8802-134898EA49E2}" dt="2023-03-08T19:03:00.243" v="6219" actId="1076"/>
          <ac:picMkLst>
            <pc:docMk/>
            <pc:sldMk cId="3618944500" sldId="319"/>
            <ac:picMk id="7" creationId="{0883C663-EFEA-1256-EF5F-51481075BE99}"/>
          </ac:picMkLst>
        </pc:picChg>
      </pc:sldChg>
      <pc:sldChg chg="addSp delSp modSp new add mod">
        <pc:chgData name="Jivani, Yash" userId="d3219360-dc34-4c5d-aaa0-47f172547215" providerId="ADAL" clId="{4734F14E-700E-43BE-8802-134898EA49E2}" dt="2023-03-08T19:12:52.957" v="6312" actId="122"/>
        <pc:sldMkLst>
          <pc:docMk/>
          <pc:sldMk cId="2619585015" sldId="320"/>
        </pc:sldMkLst>
        <pc:spChg chg="del">
          <ac:chgData name="Jivani, Yash" userId="d3219360-dc34-4c5d-aaa0-47f172547215" providerId="ADAL" clId="{4734F14E-700E-43BE-8802-134898EA49E2}" dt="2023-03-08T19:08:12.544" v="6226" actId="478"/>
          <ac:spMkLst>
            <pc:docMk/>
            <pc:sldMk cId="2619585015" sldId="320"/>
            <ac:spMk id="2" creationId="{6D848D97-4AB3-9187-D1A7-86EB627CD209}"/>
          </ac:spMkLst>
        </pc:spChg>
        <pc:spChg chg="del">
          <ac:chgData name="Jivani, Yash" userId="d3219360-dc34-4c5d-aaa0-47f172547215" providerId="ADAL" clId="{4734F14E-700E-43BE-8802-134898EA49E2}" dt="2023-03-08T19:08:11.299" v="6225" actId="478"/>
          <ac:spMkLst>
            <pc:docMk/>
            <pc:sldMk cId="2619585015" sldId="320"/>
            <ac:spMk id="3" creationId="{24A3D5BE-8033-BCD9-64D2-5B4C238BF697}"/>
          </ac:spMkLst>
        </pc:spChg>
        <pc:spChg chg="del">
          <ac:chgData name="Jivani, Yash" userId="d3219360-dc34-4c5d-aaa0-47f172547215" providerId="ADAL" clId="{4734F14E-700E-43BE-8802-134898EA49E2}" dt="2023-03-08T19:08:28.751" v="6247" actId="478"/>
          <ac:spMkLst>
            <pc:docMk/>
            <pc:sldMk cId="2619585015" sldId="320"/>
            <ac:spMk id="4" creationId="{9DEF214A-EE16-AC98-CAC0-9F21BC19B996}"/>
          </ac:spMkLst>
        </pc:spChg>
        <pc:spChg chg="add mod">
          <ac:chgData name="Jivani, Yash" userId="d3219360-dc34-4c5d-aaa0-47f172547215" providerId="ADAL" clId="{4734F14E-700E-43BE-8802-134898EA49E2}" dt="2023-03-08T19:08:31.945" v="6248" actId="1076"/>
          <ac:spMkLst>
            <pc:docMk/>
            <pc:sldMk cId="2619585015" sldId="320"/>
            <ac:spMk id="6" creationId="{BDD299A4-6202-AD9E-2BB3-C9442A8F84BE}"/>
          </ac:spMkLst>
        </pc:spChg>
        <pc:spChg chg="add mod">
          <ac:chgData name="Jivani, Yash" userId="d3219360-dc34-4c5d-aaa0-47f172547215" providerId="ADAL" clId="{4734F14E-700E-43BE-8802-134898EA49E2}" dt="2023-03-08T19:08:23.602" v="6245"/>
          <ac:spMkLst>
            <pc:docMk/>
            <pc:sldMk cId="2619585015" sldId="320"/>
            <ac:spMk id="7" creationId="{4B3C63A5-7884-B081-EB6A-79AA62675221}"/>
          </ac:spMkLst>
        </pc:spChg>
        <pc:spChg chg="add del mod">
          <ac:chgData name="Jivani, Yash" userId="d3219360-dc34-4c5d-aaa0-47f172547215" providerId="ADAL" clId="{4734F14E-700E-43BE-8802-134898EA49E2}" dt="2023-03-08T19:10:48.256" v="6278" actId="478"/>
          <ac:spMkLst>
            <pc:docMk/>
            <pc:sldMk cId="2619585015" sldId="320"/>
            <ac:spMk id="14" creationId="{6C3EC225-2E21-FBBD-4A25-86A7FF467A00}"/>
          </ac:spMkLst>
        </pc:spChg>
        <pc:spChg chg="add mod">
          <ac:chgData name="Jivani, Yash" userId="d3219360-dc34-4c5d-aaa0-47f172547215" providerId="ADAL" clId="{4734F14E-700E-43BE-8802-134898EA49E2}" dt="2023-03-08T19:10:48.503" v="6279"/>
          <ac:spMkLst>
            <pc:docMk/>
            <pc:sldMk cId="2619585015" sldId="320"/>
            <ac:spMk id="15" creationId="{0F0D87FF-B889-3DF1-B78F-BCF208B5322B}"/>
          </ac:spMkLst>
        </pc:spChg>
        <pc:spChg chg="add mod">
          <ac:chgData name="Jivani, Yash" userId="d3219360-dc34-4c5d-aaa0-47f172547215" providerId="ADAL" clId="{4734F14E-700E-43BE-8802-134898EA49E2}" dt="2023-03-08T19:12:52.957" v="6312" actId="122"/>
          <ac:spMkLst>
            <pc:docMk/>
            <pc:sldMk cId="2619585015" sldId="320"/>
            <ac:spMk id="16" creationId="{3512A412-E1A3-1EDB-4AD5-3D4F7E917F0C}"/>
          </ac:spMkLst>
        </pc:spChg>
        <pc:grpChg chg="add mod">
          <ac:chgData name="Jivani, Yash" userId="d3219360-dc34-4c5d-aaa0-47f172547215" providerId="ADAL" clId="{4734F14E-700E-43BE-8802-134898EA49E2}" dt="2023-03-08T19:09:32.131" v="6260" actId="164"/>
          <ac:grpSpMkLst>
            <pc:docMk/>
            <pc:sldMk cId="2619585015" sldId="320"/>
            <ac:grpSpMk id="12" creationId="{5E47B012-565C-630E-8E6E-346452C80818}"/>
          </ac:grpSpMkLst>
        </pc:grpChg>
        <pc:grpChg chg="add mod">
          <ac:chgData name="Jivani, Yash" userId="d3219360-dc34-4c5d-aaa0-47f172547215" providerId="ADAL" clId="{4734F14E-700E-43BE-8802-134898EA49E2}" dt="2023-03-08T19:09:49.574" v="6261" actId="164"/>
          <ac:grpSpMkLst>
            <pc:docMk/>
            <pc:sldMk cId="2619585015" sldId="320"/>
            <ac:grpSpMk id="13" creationId="{1F8AE58F-AFC3-8D77-A89E-8718B979E280}"/>
          </ac:grpSpMkLst>
        </pc:grpChg>
        <pc:graphicFrameChg chg="add mod ord modVis replST">
          <ac:chgData name="Jivani, Yash" userId="d3219360-dc34-4c5d-aaa0-47f172547215" providerId="ADAL" clId="{4734F14E-700E-43BE-8802-134898EA49E2}" dt="2023-03-08T19:08:13.075" v="6244"/>
          <ac:graphicFrameMkLst>
            <pc:docMk/>
            <pc:sldMk cId="2619585015" sldId="320"/>
            <ac:graphicFrameMk id="5" creationId="{2F94A7EE-C7B6-5E43-2590-120B56C2D9D6}"/>
          </ac:graphicFrameMkLst>
        </pc:graphicFrameChg>
        <pc:picChg chg="add mod">
          <ac:chgData name="Jivani, Yash" userId="d3219360-dc34-4c5d-aaa0-47f172547215" providerId="ADAL" clId="{4734F14E-700E-43BE-8802-134898EA49E2}" dt="2023-03-08T19:09:49.574" v="6261" actId="164"/>
          <ac:picMkLst>
            <pc:docMk/>
            <pc:sldMk cId="2619585015" sldId="320"/>
            <ac:picMk id="8" creationId="{8D937ED3-12E7-0A94-532E-9F624E4EBE81}"/>
          </ac:picMkLst>
        </pc:picChg>
        <pc:picChg chg="add mod">
          <ac:chgData name="Jivani, Yash" userId="d3219360-dc34-4c5d-aaa0-47f172547215" providerId="ADAL" clId="{4734F14E-700E-43BE-8802-134898EA49E2}" dt="2023-03-08T19:09:32.131" v="6260" actId="164"/>
          <ac:picMkLst>
            <pc:docMk/>
            <pc:sldMk cId="2619585015" sldId="320"/>
            <ac:picMk id="9" creationId="{B3A3EDC0-BB8A-11F7-B83B-38E6B8FF7E60}"/>
          </ac:picMkLst>
        </pc:picChg>
        <pc:picChg chg="add mod">
          <ac:chgData name="Jivani, Yash" userId="d3219360-dc34-4c5d-aaa0-47f172547215" providerId="ADAL" clId="{4734F14E-700E-43BE-8802-134898EA49E2}" dt="2023-03-08T19:09:32.131" v="6260" actId="164"/>
          <ac:picMkLst>
            <pc:docMk/>
            <pc:sldMk cId="2619585015" sldId="320"/>
            <ac:picMk id="10" creationId="{095508AC-8E54-73EB-8008-0F6932890A1F}"/>
          </ac:picMkLst>
        </pc:picChg>
        <pc:picChg chg="add mod">
          <ac:chgData name="Jivani, Yash" userId="d3219360-dc34-4c5d-aaa0-47f172547215" providerId="ADAL" clId="{4734F14E-700E-43BE-8802-134898EA49E2}" dt="2023-03-08T19:09:49.574" v="6261" actId="164"/>
          <ac:picMkLst>
            <pc:docMk/>
            <pc:sldMk cId="2619585015" sldId="320"/>
            <ac:picMk id="11" creationId="{FCA794B7-0A5E-6386-34C0-150B1E07297B}"/>
          </ac:picMkLst>
        </pc:picChg>
      </pc:sldChg>
      <pc:sldChg chg="addSp delSp modSp new add del mod">
        <pc:chgData name="Jivani, Yash" userId="d3219360-dc34-4c5d-aaa0-47f172547215" providerId="ADAL" clId="{4734F14E-700E-43BE-8802-134898EA49E2}" dt="2023-03-08T18:14:00.004" v="3204" actId="47"/>
        <pc:sldMkLst>
          <pc:docMk/>
          <pc:sldMk cId="3611316230" sldId="320"/>
        </pc:sldMkLst>
        <pc:spChg chg="mod">
          <ac:chgData name="Jivani, Yash" userId="d3219360-dc34-4c5d-aaa0-47f172547215" providerId="ADAL" clId="{4734F14E-700E-43BE-8802-134898EA49E2}" dt="2023-03-08T18:13:53.306" v="3171"/>
          <ac:spMkLst>
            <pc:docMk/>
            <pc:sldMk cId="3611316230" sldId="320"/>
            <ac:spMk id="2" creationId="{B10351A8-5CD9-7E32-91C4-CCB0189A3B89}"/>
          </ac:spMkLst>
        </pc:spChg>
        <pc:spChg chg="mod">
          <ac:chgData name="Jivani, Yash" userId="d3219360-dc34-4c5d-aaa0-47f172547215" providerId="ADAL" clId="{4734F14E-700E-43BE-8802-134898EA49E2}" dt="2023-03-08T18:13:42.422" v="3064"/>
          <ac:spMkLst>
            <pc:docMk/>
            <pc:sldMk cId="3611316230" sldId="320"/>
            <ac:spMk id="3" creationId="{103911E3-ABD5-29EA-9432-7BC4296F96F7}"/>
          </ac:spMkLst>
        </pc:spChg>
        <pc:spChg chg="add del mod modVis">
          <ac:chgData name="Jivani, Yash" userId="d3219360-dc34-4c5d-aaa0-47f172547215" providerId="ADAL" clId="{4734F14E-700E-43BE-8802-134898EA49E2}" dt="2023-03-08T18:13:40.494" v="3061" actId="962"/>
          <ac:spMkLst>
            <pc:docMk/>
            <pc:sldMk cId="3611316230" sldId="320"/>
            <ac:spMk id="4" creationId="{E514BC4A-29D0-8CCF-B442-C33154F91AB6}"/>
          </ac:spMkLst>
        </pc:spChg>
        <pc:spChg chg="add del mod modVis">
          <ac:chgData name="Jivani, Yash" userId="d3219360-dc34-4c5d-aaa0-47f172547215" providerId="ADAL" clId="{4734F14E-700E-43BE-8802-134898EA49E2}" dt="2023-03-08T18:13:53.305" v="3169" actId="962"/>
          <ac:spMkLst>
            <pc:docMk/>
            <pc:sldMk cId="3611316230" sldId="320"/>
            <ac:spMk id="6" creationId="{D04BE279-1943-6FB7-84A9-942B550BF36F}"/>
          </ac:spMkLst>
        </pc:spChg>
        <pc:graphicFrameChg chg="add mod ord modVis replST delST">
          <ac:chgData name="Jivani, Yash" userId="d3219360-dc34-4c5d-aaa0-47f172547215" providerId="ADAL" clId="{4734F14E-700E-43BE-8802-134898EA49E2}" dt="2023-03-08T18:13:40.476" v="3023" actId="14100"/>
          <ac:graphicFrameMkLst>
            <pc:docMk/>
            <pc:sldMk cId="3611316230" sldId="320"/>
            <ac:graphicFrameMk id="5" creationId="{2BBF2899-3064-DCC4-3D17-D2BA674F98A8}"/>
          </ac:graphicFrameMkLst>
        </pc:graphicFrameChg>
        <pc:graphicFrameChg chg="add mod ord modVis replST delST">
          <ac:chgData name="Jivani, Yash" userId="d3219360-dc34-4c5d-aaa0-47f172547215" providerId="ADAL" clId="{4734F14E-700E-43BE-8802-134898EA49E2}" dt="2023-03-08T18:13:53.286" v="3131" actId="14100"/>
          <ac:graphicFrameMkLst>
            <pc:docMk/>
            <pc:sldMk cId="3611316230" sldId="320"/>
            <ac:graphicFrameMk id="7" creationId="{3C18C560-2EC4-6870-7616-FB4D1B0B5E44}"/>
          </ac:graphicFrameMkLst>
        </pc:graphicFrameChg>
        <pc:graphicFrameChg chg="add mod ord modVis replST">
          <ac:chgData name="Jivani, Yash" userId="d3219360-dc34-4c5d-aaa0-47f172547215" providerId="ADAL" clId="{4734F14E-700E-43BE-8802-134898EA49E2}" dt="2023-03-08T18:13:53.401" v="3187"/>
          <ac:graphicFrameMkLst>
            <pc:docMk/>
            <pc:sldMk cId="3611316230" sldId="320"/>
            <ac:graphicFrameMk id="8" creationId="{C35BE05B-A345-E63A-DB31-13B66EE98145}"/>
          </ac:graphicFrameMkLst>
        </pc:graphicFrameChg>
        <pc:graphicFrameChg chg="add mod ord modVis replST">
          <ac:chgData name="Jivani, Yash" userId="d3219360-dc34-4c5d-aaa0-47f172547215" providerId="ADAL" clId="{4734F14E-700E-43BE-8802-134898EA49E2}" dt="2023-03-08T18:13:53.475" v="3203"/>
          <ac:graphicFrameMkLst>
            <pc:docMk/>
            <pc:sldMk cId="3611316230" sldId="320"/>
            <ac:graphicFrameMk id="9" creationId="{FB7B0434-0ADD-EFA6-6090-1727E3FA1A00}"/>
          </ac:graphicFrameMkLst>
        </pc:graphicFrameChg>
      </pc:sldChg>
      <pc:sldChg chg="addSp delSp modSp new add mod setBg">
        <pc:chgData name="Jivani, Yash" userId="d3219360-dc34-4c5d-aaa0-47f172547215" providerId="ADAL" clId="{4734F14E-700E-43BE-8802-134898EA49E2}" dt="2023-03-08T23:28:30.358" v="7376" actId="14100"/>
        <pc:sldMkLst>
          <pc:docMk/>
          <pc:sldMk cId="3316231314" sldId="321"/>
        </pc:sldMkLst>
        <pc:spChg chg="del mod">
          <ac:chgData name="Jivani, Yash" userId="d3219360-dc34-4c5d-aaa0-47f172547215" providerId="ADAL" clId="{4734F14E-700E-43BE-8802-134898EA49E2}" dt="2023-03-08T19:19:15.418" v="6359" actId="478"/>
          <ac:spMkLst>
            <pc:docMk/>
            <pc:sldMk cId="3316231314" sldId="321"/>
            <ac:spMk id="2" creationId="{FFA65515-B3A3-E128-A1F9-88DF7944259B}"/>
          </ac:spMkLst>
        </pc:spChg>
        <pc:spChg chg="mod">
          <ac:chgData name="Jivani, Yash" userId="d3219360-dc34-4c5d-aaa0-47f172547215" providerId="ADAL" clId="{4734F14E-700E-43BE-8802-134898EA49E2}" dt="2023-03-08T20:57:30.717" v="6843" actId="1076"/>
          <ac:spMkLst>
            <pc:docMk/>
            <pc:sldMk cId="3316231314" sldId="321"/>
            <ac:spMk id="3" creationId="{2C0C3AAE-8DED-1E39-8A06-ADBAE229A450}"/>
          </ac:spMkLst>
        </pc:spChg>
        <pc:spChg chg="del mod ord">
          <ac:chgData name="Jivani, Yash" userId="d3219360-dc34-4c5d-aaa0-47f172547215" providerId="ADAL" clId="{4734F14E-700E-43BE-8802-134898EA49E2}" dt="2023-03-08T19:18:56.104" v="6355" actId="478"/>
          <ac:spMkLst>
            <pc:docMk/>
            <pc:sldMk cId="3316231314" sldId="321"/>
            <ac:spMk id="4" creationId="{C77106AE-4ED1-5B59-8AF7-2EDC54F9EA43}"/>
          </ac:spMkLst>
        </pc:spChg>
        <pc:spChg chg="add del">
          <ac:chgData name="Jivani, Yash" userId="d3219360-dc34-4c5d-aaa0-47f172547215" providerId="ADAL" clId="{4734F14E-700E-43BE-8802-134898EA49E2}" dt="2023-03-08T19:17:11.612" v="6324" actId="22"/>
          <ac:spMkLst>
            <pc:docMk/>
            <pc:sldMk cId="3316231314" sldId="321"/>
            <ac:spMk id="7" creationId="{8AD278F5-8ABD-B237-805E-D2BE763124A8}"/>
          </ac:spMkLst>
        </pc:spChg>
        <pc:spChg chg="add mod">
          <ac:chgData name="Jivani, Yash" userId="d3219360-dc34-4c5d-aaa0-47f172547215" providerId="ADAL" clId="{4734F14E-700E-43BE-8802-134898EA49E2}" dt="2023-03-08T19:19:00.524" v="6356" actId="1076"/>
          <ac:spMkLst>
            <pc:docMk/>
            <pc:sldMk cId="3316231314" sldId="321"/>
            <ac:spMk id="9" creationId="{04BFBA02-62FD-2E57-35F6-9E2887271A24}"/>
          </ac:spMkLst>
        </pc:spChg>
        <pc:spChg chg="add mod">
          <ac:chgData name="Jivani, Yash" userId="d3219360-dc34-4c5d-aaa0-47f172547215" providerId="ADAL" clId="{4734F14E-700E-43BE-8802-134898EA49E2}" dt="2023-03-08T19:18:43.550" v="6352"/>
          <ac:spMkLst>
            <pc:docMk/>
            <pc:sldMk cId="3316231314" sldId="321"/>
            <ac:spMk id="10" creationId="{0658A469-2D17-6603-BD07-3FA42D436952}"/>
          </ac:spMkLst>
        </pc:spChg>
        <pc:spChg chg="add mod">
          <ac:chgData name="Jivani, Yash" userId="d3219360-dc34-4c5d-aaa0-47f172547215" providerId="ADAL" clId="{4734F14E-700E-43BE-8802-134898EA49E2}" dt="2023-03-08T20:40:19.971" v="6786" actId="1076"/>
          <ac:spMkLst>
            <pc:docMk/>
            <pc:sldMk cId="3316231314" sldId="321"/>
            <ac:spMk id="11" creationId="{E5C3F422-125B-C05A-43F3-5F9CCE4196E2}"/>
          </ac:spMkLst>
        </pc:spChg>
        <pc:spChg chg="add mod">
          <ac:chgData name="Jivani, Yash" userId="d3219360-dc34-4c5d-aaa0-47f172547215" providerId="ADAL" clId="{4734F14E-700E-43BE-8802-134898EA49E2}" dt="2023-03-08T23:28:30.358" v="7376" actId="14100"/>
          <ac:spMkLst>
            <pc:docMk/>
            <pc:sldMk cId="3316231314" sldId="321"/>
            <ac:spMk id="12" creationId="{114DEAC3-B7DA-2ECD-A920-359F5E04850B}"/>
          </ac:spMkLst>
        </pc:spChg>
        <pc:graphicFrameChg chg="add mod ord modVis replST">
          <ac:chgData name="Jivani, Yash" userId="d3219360-dc34-4c5d-aaa0-47f172547215" providerId="ADAL" clId="{4734F14E-700E-43BE-8802-134898EA49E2}" dt="2023-03-08T19:19:15.930" v="6363"/>
          <ac:graphicFrameMkLst>
            <pc:docMk/>
            <pc:sldMk cId="3316231314" sldId="321"/>
            <ac:graphicFrameMk id="8" creationId="{5A80027D-1C07-3C83-3D12-C30A4EE13838}"/>
          </ac:graphicFrameMkLst>
        </pc:graphicFrameChg>
        <pc:picChg chg="add mod">
          <ac:chgData name="Jivani, Yash" userId="d3219360-dc34-4c5d-aaa0-47f172547215" providerId="ADAL" clId="{4734F14E-700E-43BE-8802-134898EA49E2}" dt="2023-03-08T19:19:04.417" v="6357" actId="1076"/>
          <ac:picMkLst>
            <pc:docMk/>
            <pc:sldMk cId="3316231314" sldId="321"/>
            <ac:picMk id="5" creationId="{2D26B56E-A25F-ECFD-828A-7876E0931C54}"/>
          </ac:picMkLst>
        </pc:picChg>
      </pc:sldChg>
      <pc:sldChg chg="addSp delSp modSp add mod">
        <pc:chgData name="Jivani, Yash" userId="d3219360-dc34-4c5d-aaa0-47f172547215" providerId="ADAL" clId="{4734F14E-700E-43BE-8802-134898EA49E2}" dt="2023-03-09T00:28:25.034" v="7569"/>
        <pc:sldMkLst>
          <pc:docMk/>
          <pc:sldMk cId="2451740081" sldId="324"/>
        </pc:sldMkLst>
        <pc:spChg chg="mod">
          <ac:chgData name="Jivani, Yash" userId="d3219360-dc34-4c5d-aaa0-47f172547215" providerId="ADAL" clId="{4734F14E-700E-43BE-8802-134898EA49E2}" dt="2023-03-09T00:28:24.992" v="7511" actId="948"/>
          <ac:spMkLst>
            <pc:docMk/>
            <pc:sldMk cId="2451740081" sldId="324"/>
            <ac:spMk id="2" creationId="{2D6A910F-BBF3-DA0C-501C-BC3BB348759E}"/>
          </ac:spMkLst>
        </pc:spChg>
        <pc:spChg chg="del mod">
          <ac:chgData name="Jivani, Yash" userId="d3219360-dc34-4c5d-aaa0-47f172547215" providerId="ADAL" clId="{4734F14E-700E-43BE-8802-134898EA49E2}" dt="2023-03-08T20:16:58.071" v="6521" actId="478"/>
          <ac:spMkLst>
            <pc:docMk/>
            <pc:sldMk cId="2451740081" sldId="324"/>
            <ac:spMk id="3" creationId="{33507D1A-46B2-6D7A-4C38-6541BE7784E0}"/>
          </ac:spMkLst>
        </pc:spChg>
        <pc:spChg chg="add del mod modVis">
          <ac:chgData name="Jivani, Yash" userId="d3219360-dc34-4c5d-aaa0-47f172547215" providerId="ADAL" clId="{4734F14E-700E-43BE-8802-134898EA49E2}" dt="2023-03-09T00:28:25.033" v="7567"/>
          <ac:spMkLst>
            <pc:docMk/>
            <pc:sldMk cId="2451740081" sldId="324"/>
            <ac:spMk id="3" creationId="{C57EDBE4-36D3-463A-4E97-DE21AFDC3657}"/>
          </ac:spMkLst>
        </pc:spChg>
        <pc:spChg chg="add del mod">
          <ac:chgData name="Jivani, Yash" userId="d3219360-dc34-4c5d-aaa0-47f172547215" providerId="ADAL" clId="{4734F14E-700E-43BE-8802-134898EA49E2}" dt="2023-03-08T20:17:22.808" v="6667" actId="478"/>
          <ac:spMkLst>
            <pc:docMk/>
            <pc:sldMk cId="2451740081" sldId="324"/>
            <ac:spMk id="8" creationId="{07222ECE-E6E8-4ED6-2A67-F22DF0CEF0F8}"/>
          </ac:spMkLst>
        </pc:spChg>
        <pc:spChg chg="add del mod modVis">
          <ac:chgData name="Jivani, Yash" userId="d3219360-dc34-4c5d-aaa0-47f172547215" providerId="ADAL" clId="{4734F14E-700E-43BE-8802-134898EA49E2}" dt="2023-03-08T20:17:02.216" v="6573"/>
          <ac:spMkLst>
            <pc:docMk/>
            <pc:sldMk cId="2451740081" sldId="324"/>
            <ac:spMk id="9" creationId="{A39B7F61-6483-7042-E6FA-E267E49950CA}"/>
          </ac:spMkLst>
        </pc:spChg>
        <pc:spChg chg="add del mod modVis">
          <ac:chgData name="Jivani, Yash" userId="d3219360-dc34-4c5d-aaa0-47f172547215" providerId="ADAL" clId="{4734F14E-700E-43BE-8802-134898EA49E2}" dt="2023-03-08T20:17:03.633" v="6619"/>
          <ac:spMkLst>
            <pc:docMk/>
            <pc:sldMk cId="2451740081" sldId="324"/>
            <ac:spMk id="11" creationId="{B03E3791-40AB-3196-7446-97527503991E}"/>
          </ac:spMkLst>
        </pc:spChg>
        <pc:spChg chg="add del mod modVis">
          <ac:chgData name="Jivani, Yash" userId="d3219360-dc34-4c5d-aaa0-47f172547215" providerId="ADAL" clId="{4734F14E-700E-43BE-8802-134898EA49E2}" dt="2023-03-08T20:17:15.803" v="6664"/>
          <ac:spMkLst>
            <pc:docMk/>
            <pc:sldMk cId="2451740081" sldId="324"/>
            <ac:spMk id="13" creationId="{165D1D4F-C407-A6BD-ADDA-6664170462EA}"/>
          </ac:spMkLst>
        </pc:spChg>
        <pc:graphicFrameChg chg="mod">
          <ac:chgData name="Jivani, Yash" userId="d3219360-dc34-4c5d-aaa0-47f172547215" providerId="ADAL" clId="{4734F14E-700E-43BE-8802-134898EA49E2}" dt="2023-03-09T00:28:25.034" v="7569"/>
          <ac:graphicFrameMkLst>
            <pc:docMk/>
            <pc:sldMk cId="2451740081" sldId="324"/>
            <ac:graphicFrameMk id="6" creationId="{6F044250-723E-C4CF-363B-B539F8705FF8}"/>
          </ac:graphicFrameMkLst>
        </pc:graphicFrameChg>
        <pc:picChg chg="del">
          <ac:chgData name="Jivani, Yash" userId="d3219360-dc34-4c5d-aaa0-47f172547215" providerId="ADAL" clId="{4734F14E-700E-43BE-8802-134898EA49E2}" dt="2023-03-08T20:16:53.044" v="6519" actId="478"/>
          <ac:picMkLst>
            <pc:docMk/>
            <pc:sldMk cId="2451740081" sldId="324"/>
            <ac:picMk id="5" creationId="{0BCA6691-7961-4C00-70F9-AB2A18175CF7}"/>
          </ac:picMkLst>
        </pc:picChg>
      </pc:sldChg>
      <pc:sldChg chg="addSp delSp modSp add mod ord modTransition modShow">
        <pc:chgData name="Jivani, Yash" userId="d3219360-dc34-4c5d-aaa0-47f172547215" providerId="ADAL" clId="{4734F14E-700E-43BE-8802-134898EA49E2}" dt="2023-03-08T21:35:58.835" v="7157"/>
        <pc:sldMkLst>
          <pc:docMk/>
          <pc:sldMk cId="781056215" sldId="330"/>
        </pc:sldMkLst>
        <pc:spChg chg="del">
          <ac:chgData name="Jivani, Yash" userId="d3219360-dc34-4c5d-aaa0-47f172547215" providerId="ADAL" clId="{4734F14E-700E-43BE-8802-134898EA49E2}" dt="2023-03-08T21:21:52.921" v="7060" actId="478"/>
          <ac:spMkLst>
            <pc:docMk/>
            <pc:sldMk cId="781056215" sldId="330"/>
            <ac:spMk id="2" creationId="{2D6A910F-BBF3-DA0C-501C-BC3BB348759E}"/>
          </ac:spMkLst>
        </pc:spChg>
        <pc:spChg chg="del">
          <ac:chgData name="Jivani, Yash" userId="d3219360-dc34-4c5d-aaa0-47f172547215" providerId="ADAL" clId="{4734F14E-700E-43BE-8802-134898EA49E2}" dt="2023-03-08T21:21:50.965" v="7059" actId="478"/>
          <ac:spMkLst>
            <pc:docMk/>
            <pc:sldMk cId="781056215" sldId="330"/>
            <ac:spMk id="3" creationId="{33507D1A-46B2-6D7A-4C38-6541BE7784E0}"/>
          </ac:spMkLst>
        </pc:spChg>
        <pc:spChg chg="add del mod">
          <ac:chgData name="Jivani, Yash" userId="d3219360-dc34-4c5d-aaa0-47f172547215" providerId="ADAL" clId="{4734F14E-700E-43BE-8802-134898EA49E2}" dt="2023-03-08T21:22:00.671" v="7068" actId="478"/>
          <ac:spMkLst>
            <pc:docMk/>
            <pc:sldMk cId="781056215" sldId="330"/>
            <ac:spMk id="9" creationId="{94F3F829-B1AF-2161-B03B-61AAF36AEF08}"/>
          </ac:spMkLst>
        </pc:spChg>
        <pc:spChg chg="add mod">
          <ac:chgData name="Jivani, Yash" userId="d3219360-dc34-4c5d-aaa0-47f172547215" providerId="ADAL" clId="{4734F14E-700E-43BE-8802-134898EA49E2}" dt="2023-03-08T21:29:06.045" v="7092" actId="1076"/>
          <ac:spMkLst>
            <pc:docMk/>
            <pc:sldMk cId="781056215" sldId="330"/>
            <ac:spMk id="13" creationId="{CE83AF78-DF14-61D8-3120-8BE98F7124BB}"/>
          </ac:spMkLst>
        </pc:spChg>
        <pc:graphicFrameChg chg="add del mod modGraphic">
          <ac:chgData name="Jivani, Yash" userId="d3219360-dc34-4c5d-aaa0-47f172547215" providerId="ADAL" clId="{4734F14E-700E-43BE-8802-134898EA49E2}" dt="2023-03-08T21:32:50.038" v="7118" actId="21"/>
          <ac:graphicFrameMkLst>
            <pc:docMk/>
            <pc:sldMk cId="781056215" sldId="330"/>
            <ac:graphicFrameMk id="4" creationId="{CF3B6E76-024F-8084-098F-016A7078FA3A}"/>
          </ac:graphicFrameMkLst>
        </pc:graphicFrameChg>
        <pc:graphicFrameChg chg="mod">
          <ac:chgData name="Jivani, Yash" userId="d3219360-dc34-4c5d-aaa0-47f172547215" providerId="ADAL" clId="{4734F14E-700E-43BE-8802-134898EA49E2}" dt="2023-03-08T21:29:06.561" v="7096"/>
          <ac:graphicFrameMkLst>
            <pc:docMk/>
            <pc:sldMk cId="781056215" sldId="330"/>
            <ac:graphicFrameMk id="6" creationId="{6F044250-723E-C4CF-363B-B539F8705FF8}"/>
          </ac:graphicFrameMkLst>
        </pc:graphicFrameChg>
        <pc:graphicFrameChg chg="add del mod">
          <ac:chgData name="Jivani, Yash" userId="d3219360-dc34-4c5d-aaa0-47f172547215" providerId="ADAL" clId="{4734F14E-700E-43BE-8802-134898EA49E2}" dt="2023-03-08T21:35:48.167" v="7150"/>
          <ac:graphicFrameMkLst>
            <pc:docMk/>
            <pc:sldMk cId="781056215" sldId="330"/>
            <ac:graphicFrameMk id="15" creationId="{80F8E51F-D353-9C3C-09C5-ABC7153E0556}"/>
          </ac:graphicFrameMkLst>
        </pc:graphicFrameChg>
        <pc:picChg chg="add del mod">
          <ac:chgData name="Jivani, Yash" userId="d3219360-dc34-4c5d-aaa0-47f172547215" providerId="ADAL" clId="{4734F14E-700E-43BE-8802-134898EA49E2}" dt="2023-03-08T21:22:01.876" v="7069" actId="478"/>
          <ac:picMkLst>
            <pc:docMk/>
            <pc:sldMk cId="781056215" sldId="330"/>
            <ac:picMk id="5" creationId="{0BCA6691-7961-4C00-70F9-AB2A18175CF7}"/>
          </ac:picMkLst>
        </pc:picChg>
        <pc:picChg chg="add mod">
          <ac:chgData name="Jivani, Yash" userId="d3219360-dc34-4c5d-aaa0-47f172547215" providerId="ADAL" clId="{4734F14E-700E-43BE-8802-134898EA49E2}" dt="2023-03-08T21:35:52.692" v="7153"/>
          <ac:picMkLst>
            <pc:docMk/>
            <pc:sldMk cId="781056215" sldId="330"/>
            <ac:picMk id="16" creationId="{5FB2E55F-BDCF-FFA8-8E85-ADA8519E121E}"/>
          </ac:picMkLst>
        </pc:picChg>
        <pc:picChg chg="add mod">
          <ac:chgData name="Jivani, Yash" userId="d3219360-dc34-4c5d-aaa0-47f172547215" providerId="ADAL" clId="{4734F14E-700E-43BE-8802-134898EA49E2}" dt="2023-03-08T21:35:52.692" v="7153"/>
          <ac:picMkLst>
            <pc:docMk/>
            <pc:sldMk cId="781056215" sldId="330"/>
            <ac:picMk id="17" creationId="{2EBF0325-8893-EFA8-3F1D-8A88675D24E9}"/>
          </ac:picMkLst>
        </pc:picChg>
        <pc:picChg chg="add mod">
          <ac:chgData name="Jivani, Yash" userId="d3219360-dc34-4c5d-aaa0-47f172547215" providerId="ADAL" clId="{4734F14E-700E-43BE-8802-134898EA49E2}" dt="2023-03-08T21:35:52.692" v="7153"/>
          <ac:picMkLst>
            <pc:docMk/>
            <pc:sldMk cId="781056215" sldId="330"/>
            <ac:picMk id="18" creationId="{8E690E89-BE4C-ACED-DAE5-5C7E809063CD}"/>
          </ac:picMkLst>
        </pc:picChg>
        <pc:picChg chg="del mod">
          <ac:chgData name="Jivani, Yash" userId="d3219360-dc34-4c5d-aaa0-47f172547215" providerId="ADAL" clId="{4734F14E-700E-43BE-8802-134898EA49E2}" dt="2023-03-08T21:29:03.857" v="7091" actId="478"/>
          <ac:picMkLst>
            <pc:docMk/>
            <pc:sldMk cId="781056215" sldId="330"/>
            <ac:picMk id="2050" creationId="{9FC8889D-18CE-0DB9-F57D-4F090590FB13}"/>
          </ac:picMkLst>
        </pc:picChg>
      </pc:sldChg>
      <pc:sldChg chg="addSp delSp modSp add mod">
        <pc:chgData name="Jivani, Yash" userId="d3219360-dc34-4c5d-aaa0-47f172547215" providerId="ADAL" clId="{4734F14E-700E-43BE-8802-134898EA49E2}" dt="2023-03-09T00:45:25.467" v="7588" actId="120"/>
        <pc:sldMkLst>
          <pc:docMk/>
          <pc:sldMk cId="3857659446" sldId="331"/>
        </pc:sldMkLst>
        <pc:spChg chg="mod">
          <ac:chgData name="Jivani, Yash" userId="d3219360-dc34-4c5d-aaa0-47f172547215" providerId="ADAL" clId="{4734F14E-700E-43BE-8802-134898EA49E2}" dt="2023-03-08T21:33:44.799" v="7130" actId="14100"/>
          <ac:spMkLst>
            <pc:docMk/>
            <pc:sldMk cId="3857659446" sldId="331"/>
            <ac:spMk id="3" creationId="{33507D1A-46B2-6D7A-4C38-6541BE7784E0}"/>
          </ac:spMkLst>
        </pc:spChg>
        <pc:graphicFrameChg chg="add mod modGraphic">
          <ac:chgData name="Jivani, Yash" userId="d3219360-dc34-4c5d-aaa0-47f172547215" providerId="ADAL" clId="{4734F14E-700E-43BE-8802-134898EA49E2}" dt="2023-03-09T00:45:25.467" v="7588" actId="120"/>
          <ac:graphicFrameMkLst>
            <pc:docMk/>
            <pc:sldMk cId="3857659446" sldId="331"/>
            <ac:graphicFrameMk id="4" creationId="{19BC5461-A204-FBEB-A995-57C319529CDC}"/>
          </ac:graphicFrameMkLst>
        </pc:graphicFrameChg>
        <pc:picChg chg="mod">
          <ac:chgData name="Jivani, Yash" userId="d3219360-dc34-4c5d-aaa0-47f172547215" providerId="ADAL" clId="{4734F14E-700E-43BE-8802-134898EA49E2}" dt="2023-03-08T21:32:55.869" v="7121" actId="1076"/>
          <ac:picMkLst>
            <pc:docMk/>
            <pc:sldMk cId="3857659446" sldId="331"/>
            <ac:picMk id="5" creationId="{0BCA6691-7961-4C00-70F9-AB2A18175CF7}"/>
          </ac:picMkLst>
        </pc:picChg>
        <pc:picChg chg="del mod">
          <ac:chgData name="Jivani, Yash" userId="d3219360-dc34-4c5d-aaa0-47f172547215" providerId="ADAL" clId="{4734F14E-700E-43BE-8802-134898EA49E2}" dt="2023-03-08T21:32:36.700" v="7116" actId="478"/>
          <ac:picMkLst>
            <pc:docMk/>
            <pc:sldMk cId="3857659446" sldId="331"/>
            <ac:picMk id="2050" creationId="{9FC8889D-18CE-0DB9-F57D-4F090590FB13}"/>
          </ac:picMkLst>
        </pc:picChg>
      </pc:sldChg>
      <pc:sldChg chg="addSp modSp">
        <pc:chgData name="Jivani, Yash" userId="d3219360-dc34-4c5d-aaa0-47f172547215" providerId="ADAL" clId="{4734F14E-700E-43BE-8802-134898EA49E2}" dt="2023-03-09T01:15:02.695" v="7592"/>
        <pc:sldMkLst>
          <pc:docMk/>
          <pc:sldMk cId="1801123483" sldId="333"/>
        </pc:sldMkLst>
        <pc:spChg chg="add mod">
          <ac:chgData name="Jivani, Yash" userId="d3219360-dc34-4c5d-aaa0-47f172547215" providerId="ADAL" clId="{4734F14E-700E-43BE-8802-134898EA49E2}" dt="2023-03-09T01:15:02.695" v="7592"/>
          <ac:spMkLst>
            <pc:docMk/>
            <pc:sldMk cId="1801123483" sldId="333"/>
            <ac:spMk id="2" creationId="{06125D86-1081-B37F-14AD-8EFC772E3DD3}"/>
          </ac:spMkLst>
        </pc:spChg>
      </pc:sldChg>
      <pc:sldChg chg="addSp modSp">
        <pc:chgData name="Jivani, Yash" userId="d3219360-dc34-4c5d-aaa0-47f172547215" providerId="ADAL" clId="{4734F14E-700E-43BE-8802-134898EA49E2}" dt="2023-03-09T01:15:04.456" v="7593"/>
        <pc:sldMkLst>
          <pc:docMk/>
          <pc:sldMk cId="3687941771" sldId="334"/>
        </pc:sldMkLst>
        <pc:spChg chg="add mod">
          <ac:chgData name="Jivani, Yash" userId="d3219360-dc34-4c5d-aaa0-47f172547215" providerId="ADAL" clId="{4734F14E-700E-43BE-8802-134898EA49E2}" dt="2023-03-09T01:15:04.456" v="7593"/>
          <ac:spMkLst>
            <pc:docMk/>
            <pc:sldMk cId="3687941771" sldId="334"/>
            <ac:spMk id="3" creationId="{D2B1139D-63E1-7E27-80D9-6DCC594E08AC}"/>
          </ac:spMkLst>
        </pc:spChg>
      </pc:sldChg>
      <pc:sldMasterChg chg="addSp">
        <pc:chgData name="Jivani, Yash" userId="d3219360-dc34-4c5d-aaa0-47f172547215" providerId="ADAL" clId="{4734F14E-700E-43BE-8802-134898EA49E2}" dt="2023-03-08T17:22:56.477" v="1047"/>
        <pc:sldMasterMkLst>
          <pc:docMk/>
          <pc:sldMasterMk cId="3760520058" sldId="2147483672"/>
        </pc:sldMasterMkLst>
        <pc:graphicFrameChg chg="add">
          <ac:chgData name="Jivani, Yash" userId="d3219360-dc34-4c5d-aaa0-47f172547215" providerId="ADAL" clId="{4734F14E-700E-43BE-8802-134898EA49E2}" dt="2023-03-08T17:22:56.477" v="1047"/>
          <ac:graphicFrameMkLst>
            <pc:docMk/>
            <pc:sldMasterMk cId="3760520058" sldId="2147483672"/>
            <ac:graphicFrameMk id="7" creationId="{4A2CFDCA-596C-C551-1DA9-B0D52B2D5BDA}"/>
          </ac:graphicFrameMkLst>
        </pc:graphicFrameChg>
      </pc:sldMasterChg>
      <pc:sldMasterChg chg="addSp">
        <pc:chgData name="Jivani, Yash" userId="d3219360-dc34-4c5d-aaa0-47f172547215" providerId="ADAL" clId="{4734F14E-700E-43BE-8802-134898EA49E2}" dt="2023-03-08T17:22:58.810" v="1092"/>
        <pc:sldMasterMkLst>
          <pc:docMk/>
          <pc:sldMasterMk cId="4184117870" sldId="2147483684"/>
        </pc:sldMasterMkLst>
        <pc:graphicFrameChg chg="add">
          <ac:chgData name="Jivani, Yash" userId="d3219360-dc34-4c5d-aaa0-47f172547215" providerId="ADAL" clId="{4734F14E-700E-43BE-8802-134898EA49E2}" dt="2023-03-08T17:22:58.810" v="1092"/>
          <ac:graphicFrameMkLst>
            <pc:docMk/>
            <pc:sldMasterMk cId="4184117870" sldId="2147483684"/>
            <ac:graphicFrameMk id="7" creationId="{4A317DD8-B321-A3E2-F5D3-612073072D2D}"/>
          </ac:graphicFrameMkLst>
        </pc:graphicFrameChg>
      </pc:sldMasterChg>
      <pc:sldMasterChg chg="addSp">
        <pc:chgData name="Jivani, Yash" userId="d3219360-dc34-4c5d-aaa0-47f172547215" providerId="ADAL" clId="{4734F14E-700E-43BE-8802-134898EA49E2}" dt="2023-03-08T18:44:26.557" v="3908"/>
        <pc:sldMasterMkLst>
          <pc:docMk/>
          <pc:sldMasterMk cId="2740703645" sldId="2147483708"/>
        </pc:sldMasterMkLst>
        <pc:graphicFrameChg chg="add">
          <ac:chgData name="Jivani, Yash" userId="d3219360-dc34-4c5d-aaa0-47f172547215" providerId="ADAL" clId="{4734F14E-700E-43BE-8802-134898EA49E2}" dt="2023-03-08T18:44:26.557" v="3908"/>
          <ac:graphicFrameMkLst>
            <pc:docMk/>
            <pc:sldMasterMk cId="2740703645" sldId="2147483708"/>
            <ac:graphicFrameMk id="7" creationId="{7F4DE807-2A24-6180-C0B3-F4ECD35ED38D}"/>
          </ac:graphicFrameMkLst>
        </pc:graphicFrameChg>
      </pc:sldMasterChg>
      <pc:sldMasterChg chg="addSp">
        <pc:chgData name="Jivani, Yash" userId="d3219360-dc34-4c5d-aaa0-47f172547215" providerId="ADAL" clId="{4734F14E-700E-43BE-8802-134898EA49E2}" dt="2023-03-08T21:44:34.640" v="7275"/>
        <pc:sldMasterMkLst>
          <pc:docMk/>
          <pc:sldMasterMk cId="223734147" sldId="2147483720"/>
        </pc:sldMasterMkLst>
        <pc:graphicFrameChg chg="add">
          <ac:chgData name="Jivani, Yash" userId="d3219360-dc34-4c5d-aaa0-47f172547215" providerId="ADAL" clId="{4734F14E-700E-43BE-8802-134898EA49E2}" dt="2023-03-08T21:44:34.640" v="7275"/>
          <ac:graphicFrameMkLst>
            <pc:docMk/>
            <pc:sldMasterMk cId="223734147" sldId="2147483720"/>
            <ac:graphicFrameMk id="7" creationId="{6B63A196-7253-1373-1736-3E8D416B3753}"/>
          </ac:graphicFrameMkLst>
        </pc:graphicFrameChg>
      </pc:sldMasterChg>
      <pc:sldMasterChg chg="addSp modSp mod">
        <pc:chgData name="Jivani, Yash" userId="d3219360-dc34-4c5d-aaa0-47f172547215" providerId="ADAL" clId="{4734F14E-700E-43BE-8802-134898EA49E2}" dt="2023-03-08T18:44:27.625" v="4405"/>
        <pc:sldMasterMkLst>
          <pc:docMk/>
          <pc:sldMasterMk cId="3662918426" sldId="2147483732"/>
        </pc:sldMasterMkLst>
        <pc:graphicFrameChg chg="add mod">
          <ac:chgData name="Jivani, Yash" userId="d3219360-dc34-4c5d-aaa0-47f172547215" providerId="ADAL" clId="{4734F14E-700E-43BE-8802-134898EA49E2}" dt="2023-03-08T18:44:27.625" v="4405"/>
          <ac:graphicFrameMkLst>
            <pc:docMk/>
            <pc:sldMasterMk cId="3662918426" sldId="2147483732"/>
            <ac:graphicFrameMk id="7" creationId="{FE44696C-BE8C-BDC8-AC70-21F44D7E7C59}"/>
          </ac:graphicFrameMkLst>
        </pc:graphicFrameChg>
      </pc:sldMasterChg>
      <pc:sldMasterChg chg="addSp">
        <pc:chgData name="Jivani, Yash" userId="d3219360-dc34-4c5d-aaa0-47f172547215" providerId="ADAL" clId="{4734F14E-700E-43BE-8802-134898EA49E2}" dt="2023-03-08T18:51:23.960" v="6087"/>
        <pc:sldMasterMkLst>
          <pc:docMk/>
          <pc:sldMasterMk cId="1163503415" sldId="2147483744"/>
        </pc:sldMasterMkLst>
        <pc:graphicFrameChg chg="add">
          <ac:chgData name="Jivani, Yash" userId="d3219360-dc34-4c5d-aaa0-47f172547215" providerId="ADAL" clId="{4734F14E-700E-43BE-8802-134898EA49E2}" dt="2023-03-08T18:51:23.960" v="6087"/>
          <ac:graphicFrameMkLst>
            <pc:docMk/>
            <pc:sldMasterMk cId="1163503415" sldId="2147483744"/>
            <ac:graphicFrameMk id="7" creationId="{A0E130D0-DD15-87A5-6473-4A3AE0903C31}"/>
          </ac:graphicFrameMkLst>
        </pc:graphicFrameChg>
      </pc:sldMasterChg>
    </pc:docChg>
  </pc:docChgLst>
  <pc:docChgLst>
    <pc:chgData name="Kalbande, Mr. Ameya Dilip" userId="S::ak04817n@pace.edu::269cbf64-a0b4-4ca7-ba6c-9252f6b1fb3e" providerId="AD" clId="Web-{F2D13FA0-895E-6803-8D69-4418B1453DD3}"/>
    <pc:docChg chg="addSld modSld">
      <pc:chgData name="Kalbande, Mr. Ameya Dilip" userId="S::ak04817n@pace.edu::269cbf64-a0b4-4ca7-ba6c-9252f6b1fb3e" providerId="AD" clId="Web-{F2D13FA0-895E-6803-8D69-4418B1453DD3}" dt="2023-03-08T23:56:30.020" v="738" actId="20577"/>
      <pc:docMkLst>
        <pc:docMk/>
      </pc:docMkLst>
      <pc:sldChg chg="addSp modSp">
        <pc:chgData name="Kalbande, Mr. Ameya Dilip" userId="S::ak04817n@pace.edu::269cbf64-a0b4-4ca7-ba6c-9252f6b1fb3e" providerId="AD" clId="Web-{F2D13FA0-895E-6803-8D69-4418B1453DD3}" dt="2023-03-08T23:09:24.387" v="656" actId="1076"/>
        <pc:sldMkLst>
          <pc:docMk/>
          <pc:sldMk cId="280990142" sldId="263"/>
        </pc:sldMkLst>
        <pc:spChg chg="mod">
          <ac:chgData name="Kalbande, Mr. Ameya Dilip" userId="S::ak04817n@pace.edu::269cbf64-a0b4-4ca7-ba6c-9252f6b1fb3e" providerId="AD" clId="Web-{F2D13FA0-895E-6803-8D69-4418B1453DD3}" dt="2023-03-08T22:16:39.337" v="20" actId="20577"/>
          <ac:spMkLst>
            <pc:docMk/>
            <pc:sldMk cId="280990142" sldId="263"/>
            <ac:spMk id="2" creationId="{7D7F8D28-CA6C-52FB-8966-28F51FDCBA13}"/>
          </ac:spMkLst>
        </pc:spChg>
        <pc:spChg chg="add mod">
          <ac:chgData name="Kalbande, Mr. Ameya Dilip" userId="S::ak04817n@pace.edu::269cbf64-a0b4-4ca7-ba6c-9252f6b1fb3e" providerId="AD" clId="Web-{F2D13FA0-895E-6803-8D69-4418B1453DD3}" dt="2023-03-08T23:09:24.387" v="656" actId="1076"/>
          <ac:spMkLst>
            <pc:docMk/>
            <pc:sldMk cId="280990142" sldId="263"/>
            <ac:spMk id="7" creationId="{3B4182AF-1FF6-7E66-471B-015AEEF06A1F}"/>
          </ac:spMkLst>
        </pc:spChg>
        <pc:picChg chg="mod">
          <ac:chgData name="Kalbande, Mr. Ameya Dilip" userId="S::ak04817n@pace.edu::269cbf64-a0b4-4ca7-ba6c-9252f6b1fb3e" providerId="AD" clId="Web-{F2D13FA0-895E-6803-8D69-4418B1453DD3}" dt="2023-03-08T22:16:43.430" v="21" actId="1076"/>
          <ac:picMkLst>
            <pc:docMk/>
            <pc:sldMk cId="280990142" sldId="263"/>
            <ac:picMk id="4" creationId="{FD011E76-1306-EC23-13E3-578FD7D85698}"/>
          </ac:picMkLst>
        </pc:picChg>
      </pc:sldChg>
      <pc:sldChg chg="addSp modSp">
        <pc:chgData name="Kalbande, Mr. Ameya Dilip" userId="S::ak04817n@pace.edu::269cbf64-a0b4-4ca7-ba6c-9252f6b1fb3e" providerId="AD" clId="Web-{F2D13FA0-895E-6803-8D69-4418B1453DD3}" dt="2023-03-08T23:09:28.387" v="657"/>
        <pc:sldMkLst>
          <pc:docMk/>
          <pc:sldMk cId="2000259412" sldId="264"/>
        </pc:sldMkLst>
        <pc:spChg chg="mod">
          <ac:chgData name="Kalbande, Mr. Ameya Dilip" userId="S::ak04817n@pace.edu::269cbf64-a0b4-4ca7-ba6c-9252f6b1fb3e" providerId="AD" clId="Web-{F2D13FA0-895E-6803-8D69-4418B1453DD3}" dt="2023-03-08T22:17:16.463" v="25" actId="20577"/>
          <ac:spMkLst>
            <pc:docMk/>
            <pc:sldMk cId="2000259412" sldId="264"/>
            <ac:spMk id="3" creationId="{BD72941D-78D3-A836-C00C-335CB4541904}"/>
          </ac:spMkLst>
        </pc:spChg>
        <pc:spChg chg="add">
          <ac:chgData name="Kalbande, Mr. Ameya Dilip" userId="S::ak04817n@pace.edu::269cbf64-a0b4-4ca7-ba6c-9252f6b1fb3e" providerId="AD" clId="Web-{F2D13FA0-895E-6803-8D69-4418B1453DD3}" dt="2023-03-08T23:09:28.387" v="657"/>
          <ac:spMkLst>
            <pc:docMk/>
            <pc:sldMk cId="2000259412" sldId="264"/>
            <ac:spMk id="7" creationId="{64C27129-2A70-1D2B-F14B-3085CB01D0E6}"/>
          </ac:spMkLst>
        </pc:spChg>
      </pc:sldChg>
      <pc:sldChg chg="addSp">
        <pc:chgData name="Kalbande, Mr. Ameya Dilip" userId="S::ak04817n@pace.edu::269cbf64-a0b4-4ca7-ba6c-9252f6b1fb3e" providerId="AD" clId="Web-{F2D13FA0-895E-6803-8D69-4418B1453DD3}" dt="2023-03-08T23:09:31.996" v="658"/>
        <pc:sldMkLst>
          <pc:docMk/>
          <pc:sldMk cId="2281027140" sldId="294"/>
        </pc:sldMkLst>
        <pc:spChg chg="add">
          <ac:chgData name="Kalbande, Mr. Ameya Dilip" userId="S::ak04817n@pace.edu::269cbf64-a0b4-4ca7-ba6c-9252f6b1fb3e" providerId="AD" clId="Web-{F2D13FA0-895E-6803-8D69-4418B1453DD3}" dt="2023-03-08T23:09:31.996" v="658"/>
          <ac:spMkLst>
            <pc:docMk/>
            <pc:sldMk cId="2281027140" sldId="294"/>
            <ac:spMk id="7" creationId="{E1612A2D-AEAF-E5B1-92F8-98ACCEA5881E}"/>
          </ac:spMkLst>
        </pc:spChg>
      </pc:sldChg>
      <pc:sldChg chg="addSp">
        <pc:chgData name="Kalbande, Mr. Ameya Dilip" userId="S::ak04817n@pace.edu::269cbf64-a0b4-4ca7-ba6c-9252f6b1fb3e" providerId="AD" clId="Web-{F2D13FA0-895E-6803-8D69-4418B1453DD3}" dt="2023-03-08T23:09:34.496" v="659"/>
        <pc:sldMkLst>
          <pc:docMk/>
          <pc:sldMk cId="1047219928" sldId="295"/>
        </pc:sldMkLst>
        <pc:spChg chg="add">
          <ac:chgData name="Kalbande, Mr. Ameya Dilip" userId="S::ak04817n@pace.edu::269cbf64-a0b4-4ca7-ba6c-9252f6b1fb3e" providerId="AD" clId="Web-{F2D13FA0-895E-6803-8D69-4418B1453DD3}" dt="2023-03-08T23:09:34.496" v="659"/>
          <ac:spMkLst>
            <pc:docMk/>
            <pc:sldMk cId="1047219928" sldId="295"/>
            <ac:spMk id="8" creationId="{74C83846-6772-D412-1D90-7E0B990A9CA7}"/>
          </ac:spMkLst>
        </pc:spChg>
      </pc:sldChg>
      <pc:sldChg chg="addSp">
        <pc:chgData name="Kalbande, Mr. Ameya Dilip" userId="S::ak04817n@pace.edu::269cbf64-a0b4-4ca7-ba6c-9252f6b1fb3e" providerId="AD" clId="Web-{F2D13FA0-895E-6803-8D69-4418B1453DD3}" dt="2023-03-08T23:09:37.653" v="660"/>
        <pc:sldMkLst>
          <pc:docMk/>
          <pc:sldMk cId="1582700825" sldId="296"/>
        </pc:sldMkLst>
        <pc:spChg chg="add">
          <ac:chgData name="Kalbande, Mr. Ameya Dilip" userId="S::ak04817n@pace.edu::269cbf64-a0b4-4ca7-ba6c-9252f6b1fb3e" providerId="AD" clId="Web-{F2D13FA0-895E-6803-8D69-4418B1453DD3}" dt="2023-03-08T23:09:37.653" v="660"/>
          <ac:spMkLst>
            <pc:docMk/>
            <pc:sldMk cId="1582700825" sldId="296"/>
            <ac:spMk id="5" creationId="{9EAD42F3-E039-D669-E28A-40E251E75479}"/>
          </ac:spMkLst>
        </pc:spChg>
      </pc:sldChg>
      <pc:sldChg chg="modSp">
        <pc:chgData name="Kalbande, Mr. Ameya Dilip" userId="S::ak04817n@pace.edu::269cbf64-a0b4-4ca7-ba6c-9252f6b1fb3e" providerId="AD" clId="Web-{F2D13FA0-895E-6803-8D69-4418B1453DD3}" dt="2023-03-08T21:51:04.055" v="18" actId="20577"/>
        <pc:sldMkLst>
          <pc:docMk/>
          <pc:sldMk cId="3985600597" sldId="305"/>
        </pc:sldMkLst>
        <pc:spChg chg="mod">
          <ac:chgData name="Kalbande, Mr. Ameya Dilip" userId="S::ak04817n@pace.edu::269cbf64-a0b4-4ca7-ba6c-9252f6b1fb3e" providerId="AD" clId="Web-{F2D13FA0-895E-6803-8D69-4418B1453DD3}" dt="2023-03-08T21:51:04.055" v="18" actId="20577"/>
          <ac:spMkLst>
            <pc:docMk/>
            <pc:sldMk cId="3985600597" sldId="305"/>
            <ac:spMk id="3" creationId="{FFA675CD-7810-3DD1-56E7-5E76E2AB7B7D}"/>
          </ac:spMkLst>
        </pc:spChg>
      </pc:sldChg>
      <pc:sldChg chg="addSp delSp modSp new">
        <pc:chgData name="Kalbande, Mr. Ameya Dilip" userId="S::ak04817n@pace.edu::269cbf64-a0b4-4ca7-ba6c-9252f6b1fb3e" providerId="AD" clId="Web-{F2D13FA0-895E-6803-8D69-4418B1453DD3}" dt="2023-03-08T23:53:25.749" v="665" actId="20577"/>
        <pc:sldMkLst>
          <pc:docMk/>
          <pc:sldMk cId="1801123483" sldId="333"/>
        </pc:sldMkLst>
        <pc:spChg chg="del mod">
          <ac:chgData name="Kalbande, Mr. Ameya Dilip" userId="S::ak04817n@pace.edu::269cbf64-a0b4-4ca7-ba6c-9252f6b1fb3e" providerId="AD" clId="Web-{F2D13FA0-895E-6803-8D69-4418B1453DD3}" dt="2023-03-08T22:52:16.965" v="260"/>
          <ac:spMkLst>
            <pc:docMk/>
            <pc:sldMk cId="1801123483" sldId="333"/>
            <ac:spMk id="2" creationId="{F2B10736-138A-CC3C-00FA-CDC82A4989F7}"/>
          </ac:spMkLst>
        </pc:spChg>
        <pc:spChg chg="del mod">
          <ac:chgData name="Kalbande, Mr. Ameya Dilip" userId="S::ak04817n@pace.edu::269cbf64-a0b4-4ca7-ba6c-9252f6b1fb3e" providerId="AD" clId="Web-{F2D13FA0-895E-6803-8D69-4418B1453DD3}" dt="2023-03-08T22:43:01.807" v="29"/>
          <ac:spMkLst>
            <pc:docMk/>
            <pc:sldMk cId="1801123483" sldId="333"/>
            <ac:spMk id="3" creationId="{B933C997-73BE-9F61-32EE-18E786662B7E}"/>
          </ac:spMkLst>
        </pc:spChg>
        <pc:spChg chg="add mod">
          <ac:chgData name="Kalbande, Mr. Ameya Dilip" userId="S::ak04817n@pace.edu::269cbf64-a0b4-4ca7-ba6c-9252f6b1fb3e" providerId="AD" clId="Web-{F2D13FA0-895E-6803-8D69-4418B1453DD3}" dt="2023-03-08T23:53:25.749" v="665" actId="20577"/>
          <ac:spMkLst>
            <pc:docMk/>
            <pc:sldMk cId="1801123483" sldId="333"/>
            <ac:spMk id="6" creationId="{0BCEEA17-9ECA-B2F6-7C25-4F9515ED4073}"/>
          </ac:spMkLst>
        </pc:spChg>
        <pc:spChg chg="add">
          <ac:chgData name="Kalbande, Mr. Ameya Dilip" userId="S::ak04817n@pace.edu::269cbf64-a0b4-4ca7-ba6c-9252f6b1fb3e" providerId="AD" clId="Web-{F2D13FA0-895E-6803-8D69-4418B1453DD3}" dt="2023-03-08T23:09:40.465" v="661"/>
          <ac:spMkLst>
            <pc:docMk/>
            <pc:sldMk cId="1801123483" sldId="333"/>
            <ac:spMk id="9" creationId="{AD215A78-B781-81D7-6C4C-B62629C7F9FA}"/>
          </ac:spMkLst>
        </pc:spChg>
        <pc:picChg chg="add mod ord">
          <ac:chgData name="Kalbande, Mr. Ameya Dilip" userId="S::ak04817n@pace.edu::269cbf64-a0b4-4ca7-ba6c-9252f6b1fb3e" providerId="AD" clId="Web-{F2D13FA0-895E-6803-8D69-4418B1453DD3}" dt="2023-03-08T22:43:12.807" v="33" actId="1076"/>
          <ac:picMkLst>
            <pc:docMk/>
            <pc:sldMk cId="1801123483" sldId="333"/>
            <ac:picMk id="5" creationId="{53AAD905-F1A6-920A-2C5C-E5DC6C69E2AF}"/>
          </ac:picMkLst>
        </pc:picChg>
        <pc:picChg chg="add mod">
          <ac:chgData name="Kalbande, Mr. Ameya Dilip" userId="S::ak04817n@pace.edu::269cbf64-a0b4-4ca7-ba6c-9252f6b1fb3e" providerId="AD" clId="Web-{F2D13FA0-895E-6803-8D69-4418B1453DD3}" dt="2023-03-08T23:07:52.446" v="640" actId="1076"/>
          <ac:picMkLst>
            <pc:docMk/>
            <pc:sldMk cId="1801123483" sldId="333"/>
            <ac:picMk id="7" creationId="{10BF8850-694C-580E-6DCC-0DED98385E83}"/>
          </ac:picMkLst>
        </pc:picChg>
      </pc:sldChg>
      <pc:sldChg chg="addSp delSp modSp new">
        <pc:chgData name="Kalbande, Mr. Ameya Dilip" userId="S::ak04817n@pace.edu::269cbf64-a0b4-4ca7-ba6c-9252f6b1fb3e" providerId="AD" clId="Web-{F2D13FA0-895E-6803-8D69-4418B1453DD3}" dt="2023-03-08T23:56:30.020" v="738" actId="20577"/>
        <pc:sldMkLst>
          <pc:docMk/>
          <pc:sldMk cId="3687941771" sldId="334"/>
        </pc:sldMkLst>
        <pc:spChg chg="mod">
          <ac:chgData name="Kalbande, Mr. Ameya Dilip" userId="S::ak04817n@pace.edu::269cbf64-a0b4-4ca7-ba6c-9252f6b1fb3e" providerId="AD" clId="Web-{F2D13FA0-895E-6803-8D69-4418B1453DD3}" dt="2023-03-08T23:56:30.020" v="738" actId="20577"/>
          <ac:spMkLst>
            <pc:docMk/>
            <pc:sldMk cId="3687941771" sldId="334"/>
            <ac:spMk id="2" creationId="{4A06C657-1DF2-3530-5A4C-5A3ECD0CFA75}"/>
          </ac:spMkLst>
        </pc:spChg>
        <pc:spChg chg="del">
          <ac:chgData name="Kalbande, Mr. Ameya Dilip" userId="S::ak04817n@pace.edu::269cbf64-a0b4-4ca7-ba6c-9252f6b1fb3e" providerId="AD" clId="Web-{F2D13FA0-895E-6803-8D69-4418B1453DD3}" dt="2023-03-08T22:56:34.707" v="267"/>
          <ac:spMkLst>
            <pc:docMk/>
            <pc:sldMk cId="3687941771" sldId="334"/>
            <ac:spMk id="3" creationId="{DF8AD193-977B-124C-CDE7-2102F06AC9D7}"/>
          </ac:spMkLst>
        </pc:spChg>
        <pc:spChg chg="add">
          <ac:chgData name="Kalbande, Mr. Ameya Dilip" userId="S::ak04817n@pace.edu::269cbf64-a0b4-4ca7-ba6c-9252f6b1fb3e" providerId="AD" clId="Web-{F2D13FA0-895E-6803-8D69-4418B1453DD3}" dt="2023-03-08T23:09:45.200" v="662"/>
          <ac:spMkLst>
            <pc:docMk/>
            <pc:sldMk cId="3687941771" sldId="334"/>
            <ac:spMk id="9" creationId="{58610124-1C5A-C42B-F1A9-CC5F34CF42F2}"/>
          </ac:spMkLst>
        </pc:spChg>
        <pc:picChg chg="add mod ord">
          <ac:chgData name="Kalbande, Mr. Ameya Dilip" userId="S::ak04817n@pace.edu::269cbf64-a0b4-4ca7-ba6c-9252f6b1fb3e" providerId="AD" clId="Web-{F2D13FA0-895E-6803-8D69-4418B1453DD3}" dt="2023-03-08T22:58:22.710" v="287" actId="14100"/>
          <ac:picMkLst>
            <pc:docMk/>
            <pc:sldMk cId="3687941771" sldId="334"/>
            <ac:picMk id="5" creationId="{0F5F33C9-1FA5-543A-10BA-21F6CF67E703}"/>
          </ac:picMkLst>
        </pc:picChg>
        <pc:picChg chg="add del mod">
          <ac:chgData name="Kalbande, Mr. Ameya Dilip" userId="S::ak04817n@pace.edu::269cbf64-a0b4-4ca7-ba6c-9252f6b1fb3e" providerId="AD" clId="Web-{F2D13FA0-895E-6803-8D69-4418B1453DD3}" dt="2023-03-08T22:57:39.490" v="281"/>
          <ac:picMkLst>
            <pc:docMk/>
            <pc:sldMk cId="3687941771" sldId="334"/>
            <ac:picMk id="6" creationId="{C003C0BC-7BCF-0720-8563-64476959E20D}"/>
          </ac:picMkLst>
        </pc:picChg>
        <pc:picChg chg="add mod">
          <ac:chgData name="Kalbande, Mr. Ameya Dilip" userId="S::ak04817n@pace.edu::269cbf64-a0b4-4ca7-ba6c-9252f6b1fb3e" providerId="AD" clId="Web-{F2D13FA0-895E-6803-8D69-4418B1453DD3}" dt="2023-03-08T22:58:02.772" v="283" actId="1076"/>
          <ac:picMkLst>
            <pc:docMk/>
            <pc:sldMk cId="3687941771" sldId="334"/>
            <ac:picMk id="7" creationId="{76E962B6-DA2D-BA91-D927-7AF94BE172CE}"/>
          </ac:picMkLst>
        </pc:picChg>
      </pc:sldChg>
    </pc:docChg>
  </pc:docChgLst>
  <pc:docChgLst>
    <pc:chgData name="Kadari, Mr. Yuraja Sohel" userId="e679ffe7-4a8e-4e56-b620-7ee1411c203f" providerId="ADAL" clId="{4E99356D-1F92-4D6E-8933-121F721F218A}"/>
    <pc:docChg chg="undo redo custSel addSld delSld modSld sldOrd modMainMaster">
      <pc:chgData name="Kadari, Mr. Yuraja Sohel" userId="e679ffe7-4a8e-4e56-b620-7ee1411c203f" providerId="ADAL" clId="{4E99356D-1F92-4D6E-8933-121F721F218A}" dt="2023-03-09T05:38:45.731" v="7023" actId="20577"/>
      <pc:docMkLst>
        <pc:docMk/>
      </pc:docMkLst>
      <pc:sldChg chg="addSp delSp modSp del mod setBg">
        <pc:chgData name="Kadari, Mr. Yuraja Sohel" userId="e679ffe7-4a8e-4e56-b620-7ee1411c203f" providerId="ADAL" clId="{4E99356D-1F92-4D6E-8933-121F721F218A}" dt="2023-03-08T17:02:12.780" v="957" actId="47"/>
        <pc:sldMkLst>
          <pc:docMk/>
          <pc:sldMk cId="1939777493" sldId="256"/>
        </pc:sldMkLst>
        <pc:spChg chg="mod">
          <ac:chgData name="Kadari, Mr. Yuraja Sohel" userId="e679ffe7-4a8e-4e56-b620-7ee1411c203f" providerId="ADAL" clId="{4E99356D-1F92-4D6E-8933-121F721F218A}" dt="2023-03-08T17:00:26.510" v="930" actId="27636"/>
          <ac:spMkLst>
            <pc:docMk/>
            <pc:sldMk cId="1939777493" sldId="256"/>
            <ac:spMk id="2" creationId="{D00E5936-FA8D-2EA3-7640-6462D5E5ADFC}"/>
          </ac:spMkLst>
        </pc:spChg>
        <pc:spChg chg="mod">
          <ac:chgData name="Kadari, Mr. Yuraja Sohel" userId="e679ffe7-4a8e-4e56-b620-7ee1411c203f" providerId="ADAL" clId="{4E99356D-1F92-4D6E-8933-121F721F218A}" dt="2023-03-08T17:00:38.985" v="934" actId="21"/>
          <ac:spMkLst>
            <pc:docMk/>
            <pc:sldMk cId="1939777493" sldId="256"/>
            <ac:spMk id="3" creationId="{8F006885-C86F-DC94-0662-16CD97ECED0F}"/>
          </ac:spMkLst>
        </pc:spChg>
        <pc:spChg chg="mod">
          <ac:chgData name="Kadari, Mr. Yuraja Sohel" userId="e679ffe7-4a8e-4e56-b620-7ee1411c203f" providerId="ADAL" clId="{4E99356D-1F92-4D6E-8933-121F721F218A}" dt="2023-03-08T05:24:45.066" v="30" actId="1076"/>
          <ac:spMkLst>
            <pc:docMk/>
            <pc:sldMk cId="1939777493" sldId="256"/>
            <ac:spMk id="65" creationId="{1BADF895-D10D-D907-01BC-BE438519D206}"/>
          </ac:spMkLst>
        </pc:spChg>
        <pc:picChg chg="add del mod">
          <ac:chgData name="Kadari, Mr. Yuraja Sohel" userId="e679ffe7-4a8e-4e56-b620-7ee1411c203f" providerId="ADAL" clId="{4E99356D-1F92-4D6E-8933-121F721F218A}" dt="2023-03-08T06:38:23.504" v="61" actId="478"/>
          <ac:picMkLst>
            <pc:docMk/>
            <pc:sldMk cId="1939777493" sldId="256"/>
            <ac:picMk id="6" creationId="{E2D50F9C-EAE9-8115-6944-44AB4C124495}"/>
          </ac:picMkLst>
        </pc:picChg>
        <pc:picChg chg="add del mod">
          <ac:chgData name="Kadari, Mr. Yuraja Sohel" userId="e679ffe7-4a8e-4e56-b620-7ee1411c203f" providerId="ADAL" clId="{4E99356D-1F92-4D6E-8933-121F721F218A}" dt="2023-03-08T17:00:47.867" v="939" actId="21"/>
          <ac:picMkLst>
            <pc:docMk/>
            <pc:sldMk cId="1939777493" sldId="256"/>
            <ac:picMk id="3074" creationId="{F396653E-AC8D-0F4F-080F-A048FE1EFA99}"/>
          </ac:picMkLst>
        </pc:picChg>
      </pc:sldChg>
      <pc:sldChg chg="del">
        <pc:chgData name="Kadari, Mr. Yuraja Sohel" userId="e679ffe7-4a8e-4e56-b620-7ee1411c203f" providerId="ADAL" clId="{4E99356D-1F92-4D6E-8933-121F721F218A}" dt="2023-03-08T22:41:18.022" v="5989" actId="47"/>
        <pc:sldMkLst>
          <pc:docMk/>
          <pc:sldMk cId="790301706" sldId="260"/>
        </pc:sldMkLst>
      </pc:sldChg>
      <pc:sldChg chg="addSp delSp modSp del mod setBg">
        <pc:chgData name="Kadari, Mr. Yuraja Sohel" userId="e679ffe7-4a8e-4e56-b620-7ee1411c203f" providerId="ADAL" clId="{4E99356D-1F92-4D6E-8933-121F721F218A}" dt="2023-03-08T17:09:58.092" v="1118" actId="2696"/>
        <pc:sldMkLst>
          <pc:docMk/>
          <pc:sldMk cId="3595488135" sldId="261"/>
        </pc:sldMkLst>
        <pc:spChg chg="add mod">
          <ac:chgData name="Kadari, Mr. Yuraja Sohel" userId="e679ffe7-4a8e-4e56-b620-7ee1411c203f" providerId="ADAL" clId="{4E99356D-1F92-4D6E-8933-121F721F218A}" dt="2023-03-08T16:44:16.186" v="467" actId="120"/>
          <ac:spMkLst>
            <pc:docMk/>
            <pc:sldMk cId="3595488135" sldId="261"/>
            <ac:spMk id="2" creationId="{98C4923D-7DBF-FA1B-0E81-00955207783C}"/>
          </ac:spMkLst>
        </pc:spChg>
        <pc:spChg chg="add del mod">
          <ac:chgData name="Kadari, Mr. Yuraja Sohel" userId="e679ffe7-4a8e-4e56-b620-7ee1411c203f" providerId="ADAL" clId="{4E99356D-1F92-4D6E-8933-121F721F218A}" dt="2023-03-08T16:38:23.187" v="382"/>
          <ac:spMkLst>
            <pc:docMk/>
            <pc:sldMk cId="3595488135" sldId="261"/>
            <ac:spMk id="3" creationId="{62878204-973F-204F-1C5B-7054DC5A1E1D}"/>
          </ac:spMkLst>
        </pc:spChg>
        <pc:spChg chg="add del mod">
          <ac:chgData name="Kadari, Mr. Yuraja Sohel" userId="e679ffe7-4a8e-4e56-b620-7ee1411c203f" providerId="ADAL" clId="{4E99356D-1F92-4D6E-8933-121F721F218A}" dt="2023-03-08T16:41:01.472" v="431"/>
          <ac:spMkLst>
            <pc:docMk/>
            <pc:sldMk cId="3595488135" sldId="261"/>
            <ac:spMk id="5" creationId="{AD1DC1D1-0B7D-736A-556F-068635CF0CE8}"/>
          </ac:spMkLst>
        </pc:spChg>
        <pc:spChg chg="mod">
          <ac:chgData name="Kadari, Mr. Yuraja Sohel" userId="e679ffe7-4a8e-4e56-b620-7ee1411c203f" providerId="ADAL" clId="{4E99356D-1F92-4D6E-8933-121F721F218A}" dt="2023-03-08T17:09:11.879" v="1105" actId="21"/>
          <ac:spMkLst>
            <pc:docMk/>
            <pc:sldMk cId="3595488135" sldId="261"/>
            <ac:spMk id="21" creationId="{0B365E4F-B071-36F7-C209-7B17EC66386B}"/>
          </ac:spMkLst>
        </pc:spChg>
        <pc:grpChg chg="del mod">
          <ac:chgData name="Kadari, Mr. Yuraja Sohel" userId="e679ffe7-4a8e-4e56-b620-7ee1411c203f" providerId="ADAL" clId="{4E99356D-1F92-4D6E-8933-121F721F218A}" dt="2023-03-08T17:08:54.801" v="1099" actId="21"/>
          <ac:grpSpMkLst>
            <pc:docMk/>
            <pc:sldMk cId="3595488135" sldId="261"/>
            <ac:grpSpMk id="6" creationId="{6DB9CDC0-0509-9BAA-F09B-20AC47CF3FAF}"/>
          </ac:grpSpMkLst>
        </pc:grpChg>
        <pc:picChg chg="del mod">
          <ac:chgData name="Kadari, Mr. Yuraja Sohel" userId="e679ffe7-4a8e-4e56-b620-7ee1411c203f" providerId="ADAL" clId="{4E99356D-1F92-4D6E-8933-121F721F218A}" dt="2023-03-08T17:09:01.180" v="1102" actId="21"/>
          <ac:picMkLst>
            <pc:docMk/>
            <pc:sldMk cId="3595488135" sldId="261"/>
            <ac:picMk id="1026" creationId="{8BE9323C-C09A-41A1-74A9-047D919EF5CE}"/>
          </ac:picMkLst>
        </pc:picChg>
      </pc:sldChg>
      <pc:sldChg chg="modSp del">
        <pc:chgData name="Kadari, Mr. Yuraja Sohel" userId="e679ffe7-4a8e-4e56-b620-7ee1411c203f" providerId="ADAL" clId="{4E99356D-1F92-4D6E-8933-121F721F218A}" dt="2023-03-08T22:41:18.484" v="5990" actId="47"/>
        <pc:sldMkLst>
          <pc:docMk/>
          <pc:sldMk cId="2313593964" sldId="262"/>
        </pc:sldMkLst>
        <pc:spChg chg="mod">
          <ac:chgData name="Kadari, Mr. Yuraja Sohel" userId="e679ffe7-4a8e-4e56-b620-7ee1411c203f" providerId="ADAL" clId="{4E99356D-1F92-4D6E-8933-121F721F218A}" dt="2023-03-08T16:51:44.500" v="530"/>
          <ac:spMkLst>
            <pc:docMk/>
            <pc:sldMk cId="2313593964" sldId="262"/>
            <ac:spMk id="2" creationId="{7D7F8D28-CA6C-52FB-8966-28F51FDCBA13}"/>
          </ac:spMkLst>
        </pc:spChg>
        <pc:spChg chg="mod">
          <ac:chgData name="Kadari, Mr. Yuraja Sohel" userId="e679ffe7-4a8e-4e56-b620-7ee1411c203f" providerId="ADAL" clId="{4E99356D-1F92-4D6E-8933-121F721F218A}" dt="2023-03-08T16:51:44.500" v="530"/>
          <ac:spMkLst>
            <pc:docMk/>
            <pc:sldMk cId="2313593964" sldId="262"/>
            <ac:spMk id="3" creationId="{BD72941D-78D3-A836-C00C-335CB4541904}"/>
          </ac:spMkLst>
        </pc:spChg>
      </pc:sldChg>
      <pc:sldChg chg="modSp">
        <pc:chgData name="Kadari, Mr. Yuraja Sohel" userId="e679ffe7-4a8e-4e56-b620-7ee1411c203f" providerId="ADAL" clId="{4E99356D-1F92-4D6E-8933-121F721F218A}" dt="2023-03-08T05:23:58.116" v="13"/>
        <pc:sldMkLst>
          <pc:docMk/>
          <pc:sldMk cId="280990142" sldId="263"/>
        </pc:sldMkLst>
        <pc:spChg chg="mod">
          <ac:chgData name="Kadari, Mr. Yuraja Sohel" userId="e679ffe7-4a8e-4e56-b620-7ee1411c203f" providerId="ADAL" clId="{4E99356D-1F92-4D6E-8933-121F721F218A}" dt="2023-03-08T05:23:58.116" v="13"/>
          <ac:spMkLst>
            <pc:docMk/>
            <pc:sldMk cId="280990142" sldId="263"/>
            <ac:spMk id="2" creationId="{7D7F8D28-CA6C-52FB-8966-28F51FDCBA13}"/>
          </ac:spMkLst>
        </pc:spChg>
        <pc:spChg chg="mod">
          <ac:chgData name="Kadari, Mr. Yuraja Sohel" userId="e679ffe7-4a8e-4e56-b620-7ee1411c203f" providerId="ADAL" clId="{4E99356D-1F92-4D6E-8933-121F721F218A}" dt="2023-03-08T05:23:58.116" v="13"/>
          <ac:spMkLst>
            <pc:docMk/>
            <pc:sldMk cId="280990142" sldId="263"/>
            <ac:spMk id="3" creationId="{BD72941D-78D3-A836-C00C-335CB4541904}"/>
          </ac:spMkLst>
        </pc:spChg>
      </pc:sldChg>
      <pc:sldChg chg="modSp">
        <pc:chgData name="Kadari, Mr. Yuraja Sohel" userId="e679ffe7-4a8e-4e56-b620-7ee1411c203f" providerId="ADAL" clId="{4E99356D-1F92-4D6E-8933-121F721F218A}" dt="2023-03-08T05:23:58.116" v="13"/>
        <pc:sldMkLst>
          <pc:docMk/>
          <pc:sldMk cId="2000259412" sldId="264"/>
        </pc:sldMkLst>
        <pc:spChg chg="mod">
          <ac:chgData name="Kadari, Mr. Yuraja Sohel" userId="e679ffe7-4a8e-4e56-b620-7ee1411c203f" providerId="ADAL" clId="{4E99356D-1F92-4D6E-8933-121F721F218A}" dt="2023-03-08T05:23:58.116" v="13"/>
          <ac:spMkLst>
            <pc:docMk/>
            <pc:sldMk cId="2000259412" sldId="264"/>
            <ac:spMk id="2" creationId="{7D7F8D28-CA6C-52FB-8966-28F51FDCBA13}"/>
          </ac:spMkLst>
        </pc:spChg>
        <pc:spChg chg="mod">
          <ac:chgData name="Kadari, Mr. Yuraja Sohel" userId="e679ffe7-4a8e-4e56-b620-7ee1411c203f" providerId="ADAL" clId="{4E99356D-1F92-4D6E-8933-121F721F218A}" dt="2023-03-08T05:23:58.116" v="13"/>
          <ac:spMkLst>
            <pc:docMk/>
            <pc:sldMk cId="2000259412" sldId="264"/>
            <ac:spMk id="3" creationId="{BD72941D-78D3-A836-C00C-335CB4541904}"/>
          </ac:spMkLst>
        </pc:spChg>
      </pc:sldChg>
      <pc:sldChg chg="addSp delSp modSp del mod setBg">
        <pc:chgData name="Kadari, Mr. Yuraja Sohel" userId="e679ffe7-4a8e-4e56-b620-7ee1411c203f" providerId="ADAL" clId="{4E99356D-1F92-4D6E-8933-121F721F218A}" dt="2023-03-08T17:31:14.869" v="1289" actId="2696"/>
        <pc:sldMkLst>
          <pc:docMk/>
          <pc:sldMk cId="3018579934" sldId="266"/>
        </pc:sldMkLst>
        <pc:spChg chg="mod">
          <ac:chgData name="Kadari, Mr. Yuraja Sohel" userId="e679ffe7-4a8e-4e56-b620-7ee1411c203f" providerId="ADAL" clId="{4E99356D-1F92-4D6E-8933-121F721F218A}" dt="2023-03-08T16:54:57.278" v="765" actId="20577"/>
          <ac:spMkLst>
            <pc:docMk/>
            <pc:sldMk cId="3018579934" sldId="266"/>
            <ac:spMk id="2" creationId="{47DD7C64-B7C2-4BF1-8389-3756984C6523}"/>
          </ac:spMkLst>
        </pc:spChg>
        <pc:spChg chg="mod">
          <ac:chgData name="Kadari, Mr. Yuraja Sohel" userId="e679ffe7-4a8e-4e56-b620-7ee1411c203f" providerId="ADAL" clId="{4E99356D-1F92-4D6E-8933-121F721F218A}" dt="2023-03-08T17:29:16.320" v="1270" actId="21"/>
          <ac:spMkLst>
            <pc:docMk/>
            <pc:sldMk cId="3018579934" sldId="266"/>
            <ac:spMk id="3" creationId="{D5770C48-48FC-4139-D138-4C8D366BDCDA}"/>
          </ac:spMkLst>
        </pc:spChg>
        <pc:picChg chg="add del mod">
          <ac:chgData name="Kadari, Mr. Yuraja Sohel" userId="e679ffe7-4a8e-4e56-b620-7ee1411c203f" providerId="ADAL" clId="{4E99356D-1F92-4D6E-8933-121F721F218A}" dt="2023-03-08T17:29:28.784" v="1274" actId="21"/>
          <ac:picMkLst>
            <pc:docMk/>
            <pc:sldMk cId="3018579934" sldId="266"/>
            <ac:picMk id="1026" creationId="{B3350CBD-66F6-F3C9-E7F7-1C966FC20F1E}"/>
          </ac:picMkLst>
        </pc:picChg>
      </pc:sldChg>
      <pc:sldChg chg="del">
        <pc:chgData name="Kadari, Mr. Yuraja Sohel" userId="e679ffe7-4a8e-4e56-b620-7ee1411c203f" providerId="ADAL" clId="{4E99356D-1F92-4D6E-8933-121F721F218A}" dt="2023-03-08T22:41:12.128" v="5986" actId="47"/>
        <pc:sldMkLst>
          <pc:docMk/>
          <pc:sldMk cId="421028188" sldId="267"/>
        </pc:sldMkLst>
      </pc:sldChg>
      <pc:sldChg chg="setBg">
        <pc:chgData name="Kadari, Mr. Yuraja Sohel" userId="e679ffe7-4a8e-4e56-b620-7ee1411c203f" providerId="ADAL" clId="{4E99356D-1F92-4D6E-8933-121F721F218A}" dt="2023-03-08T16:53:12.063" v="640"/>
        <pc:sldMkLst>
          <pc:docMk/>
          <pc:sldMk cId="3198117231" sldId="269"/>
        </pc:sldMkLst>
      </pc:sldChg>
      <pc:sldChg chg="del">
        <pc:chgData name="Kadari, Mr. Yuraja Sohel" userId="e679ffe7-4a8e-4e56-b620-7ee1411c203f" providerId="ADAL" clId="{4E99356D-1F92-4D6E-8933-121F721F218A}" dt="2023-03-08T22:41:11.536" v="5985" actId="47"/>
        <pc:sldMkLst>
          <pc:docMk/>
          <pc:sldMk cId="1771431222" sldId="277"/>
        </pc:sldMkLst>
      </pc:sldChg>
      <pc:sldChg chg="del">
        <pc:chgData name="Kadari, Mr. Yuraja Sohel" userId="e679ffe7-4a8e-4e56-b620-7ee1411c203f" providerId="ADAL" clId="{4E99356D-1F92-4D6E-8933-121F721F218A}" dt="2023-03-08T22:41:17.520" v="5988" actId="47"/>
        <pc:sldMkLst>
          <pc:docMk/>
          <pc:sldMk cId="1441500399" sldId="279"/>
        </pc:sldMkLst>
      </pc:sldChg>
      <pc:sldChg chg="modSp del mod setBg">
        <pc:chgData name="Kadari, Mr. Yuraja Sohel" userId="e679ffe7-4a8e-4e56-b620-7ee1411c203f" providerId="ADAL" clId="{4E99356D-1F92-4D6E-8933-121F721F218A}" dt="2023-03-08T17:14:11.338" v="1167" actId="2696"/>
        <pc:sldMkLst>
          <pc:docMk/>
          <pc:sldMk cId="2103296267" sldId="280"/>
        </pc:sldMkLst>
        <pc:spChg chg="mod">
          <ac:chgData name="Kadari, Mr. Yuraja Sohel" userId="e679ffe7-4a8e-4e56-b620-7ee1411c203f" providerId="ADAL" clId="{4E99356D-1F92-4D6E-8933-121F721F218A}" dt="2023-03-08T16:44:59.166" v="483" actId="20577"/>
          <ac:spMkLst>
            <pc:docMk/>
            <pc:sldMk cId="2103296267" sldId="280"/>
            <ac:spMk id="2" creationId="{47DD7C64-B7C2-4BF1-8389-3756984C6523}"/>
          </ac:spMkLst>
        </pc:spChg>
        <pc:spChg chg="mod">
          <ac:chgData name="Kadari, Mr. Yuraja Sohel" userId="e679ffe7-4a8e-4e56-b620-7ee1411c203f" providerId="ADAL" clId="{4E99356D-1F92-4D6E-8933-121F721F218A}" dt="2023-03-08T16:44:02.637" v="465" actId="1076"/>
          <ac:spMkLst>
            <pc:docMk/>
            <pc:sldMk cId="2103296267" sldId="280"/>
            <ac:spMk id="21" creationId="{0B365E4F-B071-36F7-C209-7B17EC66386B}"/>
          </ac:spMkLst>
        </pc:spChg>
        <pc:picChg chg="mod">
          <ac:chgData name="Kadari, Mr. Yuraja Sohel" userId="e679ffe7-4a8e-4e56-b620-7ee1411c203f" providerId="ADAL" clId="{4E99356D-1F92-4D6E-8933-121F721F218A}" dt="2023-03-08T16:43:34.637" v="459" actId="1076"/>
          <ac:picMkLst>
            <pc:docMk/>
            <pc:sldMk cId="2103296267" sldId="280"/>
            <ac:picMk id="11" creationId="{C5B9E072-DE09-92E2-6DDD-E46EFF98CF9E}"/>
          </ac:picMkLst>
        </pc:picChg>
        <pc:picChg chg="mod">
          <ac:chgData name="Kadari, Mr. Yuraja Sohel" userId="e679ffe7-4a8e-4e56-b620-7ee1411c203f" providerId="ADAL" clId="{4E99356D-1F92-4D6E-8933-121F721F218A}" dt="2023-03-08T16:44:38.529" v="471" actId="1076"/>
          <ac:picMkLst>
            <pc:docMk/>
            <pc:sldMk cId="2103296267" sldId="280"/>
            <ac:picMk id="13" creationId="{E3BF449E-2005-0E8C-98EA-8DABAD4540BA}"/>
          </ac:picMkLst>
        </pc:picChg>
      </pc:sldChg>
      <pc:sldChg chg="addSp delSp modSp add del mod">
        <pc:chgData name="Kadari, Mr. Yuraja Sohel" userId="e679ffe7-4a8e-4e56-b620-7ee1411c203f" providerId="ADAL" clId="{4E99356D-1F92-4D6E-8933-121F721F218A}" dt="2023-03-08T17:45:21.281" v="1440" actId="47"/>
        <pc:sldMkLst>
          <pc:docMk/>
          <pc:sldMk cId="3902611346" sldId="281"/>
        </pc:sldMkLst>
        <pc:spChg chg="mod">
          <ac:chgData name="Kadari, Mr. Yuraja Sohel" userId="e679ffe7-4a8e-4e56-b620-7ee1411c203f" providerId="ADAL" clId="{4E99356D-1F92-4D6E-8933-121F721F218A}" dt="2023-03-08T17:31:33.153" v="1293" actId="21"/>
          <ac:spMkLst>
            <pc:docMk/>
            <pc:sldMk cId="3902611346" sldId="281"/>
            <ac:spMk id="2" creationId="{D477527B-AB2D-0157-2F81-FB9B57DD9C88}"/>
          </ac:spMkLst>
        </pc:spChg>
        <pc:spChg chg="del mod">
          <ac:chgData name="Kadari, Mr. Yuraja Sohel" userId="e679ffe7-4a8e-4e56-b620-7ee1411c203f" providerId="ADAL" clId="{4E99356D-1F92-4D6E-8933-121F721F218A}" dt="2023-03-08T16:18:30.109" v="176" actId="22"/>
          <ac:spMkLst>
            <pc:docMk/>
            <pc:sldMk cId="3902611346" sldId="281"/>
            <ac:spMk id="3" creationId="{01D01C16-5404-0505-DEAA-12C35A36B857}"/>
          </ac:spMkLst>
        </pc:spChg>
        <pc:spChg chg="mod">
          <ac:chgData name="Kadari, Mr. Yuraja Sohel" userId="e679ffe7-4a8e-4e56-b620-7ee1411c203f" providerId="ADAL" clId="{4E99356D-1F92-4D6E-8933-121F721F218A}" dt="2023-03-08T17:16:46.990" v="1168" actId="1076"/>
          <ac:spMkLst>
            <pc:docMk/>
            <pc:sldMk cId="3902611346" sldId="281"/>
            <ac:spMk id="6" creationId="{BBF8F9B4-A650-D9EB-F65B-4A307FABCB29}"/>
          </ac:spMkLst>
        </pc:spChg>
        <pc:spChg chg="add del mod">
          <ac:chgData name="Kadari, Mr. Yuraja Sohel" userId="e679ffe7-4a8e-4e56-b620-7ee1411c203f" providerId="ADAL" clId="{4E99356D-1F92-4D6E-8933-121F721F218A}" dt="2023-03-08T16:33:53.435" v="328"/>
          <ac:spMkLst>
            <pc:docMk/>
            <pc:sldMk cId="3902611346" sldId="281"/>
            <ac:spMk id="8" creationId="{91A87607-1AD4-1EBF-5466-2E13DF22B533}"/>
          </ac:spMkLst>
        </pc:spChg>
        <pc:spChg chg="add mod">
          <ac:chgData name="Kadari, Mr. Yuraja Sohel" userId="e679ffe7-4a8e-4e56-b620-7ee1411c203f" providerId="ADAL" clId="{4E99356D-1F92-4D6E-8933-121F721F218A}" dt="2023-03-08T16:30:23.600" v="326" actId="20577"/>
          <ac:spMkLst>
            <pc:docMk/>
            <pc:sldMk cId="3902611346" sldId="281"/>
            <ac:spMk id="9" creationId="{9996C052-5ECC-19A5-D78F-24A85C8C0AFA}"/>
          </ac:spMkLst>
        </pc:spChg>
        <pc:spChg chg="add mod">
          <ac:chgData name="Kadari, Mr. Yuraja Sohel" userId="e679ffe7-4a8e-4e56-b620-7ee1411c203f" providerId="ADAL" clId="{4E99356D-1F92-4D6E-8933-121F721F218A}" dt="2023-03-08T17:31:59.891" v="1300" actId="21"/>
          <ac:spMkLst>
            <pc:docMk/>
            <pc:sldMk cId="3902611346" sldId="281"/>
            <ac:spMk id="11" creationId="{20E0CCD2-031A-01D5-00D3-1C40779C1C38}"/>
          </ac:spMkLst>
        </pc:spChg>
        <pc:picChg chg="add del mod ord modCrop">
          <ac:chgData name="Kadari, Mr. Yuraja Sohel" userId="e679ffe7-4a8e-4e56-b620-7ee1411c203f" providerId="ADAL" clId="{4E99356D-1F92-4D6E-8933-121F721F218A}" dt="2023-03-08T17:31:59.891" v="1300" actId="21"/>
          <ac:picMkLst>
            <pc:docMk/>
            <pc:sldMk cId="3902611346" sldId="281"/>
            <ac:picMk id="7" creationId="{800AAA49-7C32-E72A-9C09-AEC3F8E62DF9}"/>
          </ac:picMkLst>
        </pc:picChg>
      </pc:sldChg>
      <pc:sldChg chg="modSp del">
        <pc:chgData name="Kadari, Mr. Yuraja Sohel" userId="e679ffe7-4a8e-4e56-b620-7ee1411c203f" providerId="ADAL" clId="{4E99356D-1F92-4D6E-8933-121F721F218A}" dt="2023-03-08T17:31:22.118" v="1290" actId="47"/>
        <pc:sldMkLst>
          <pc:docMk/>
          <pc:sldMk cId="2427959410" sldId="282"/>
        </pc:sldMkLst>
        <pc:spChg chg="mod">
          <ac:chgData name="Kadari, Mr. Yuraja Sohel" userId="e679ffe7-4a8e-4e56-b620-7ee1411c203f" providerId="ADAL" clId="{4E99356D-1F92-4D6E-8933-121F721F218A}" dt="2023-03-08T16:51:44.500" v="530"/>
          <ac:spMkLst>
            <pc:docMk/>
            <pc:sldMk cId="2427959410" sldId="282"/>
            <ac:spMk id="2" creationId="{37C1E61C-A874-8ABF-D9C1-E3479017C2E9}"/>
          </ac:spMkLst>
        </pc:spChg>
        <pc:spChg chg="mod">
          <ac:chgData name="Kadari, Mr. Yuraja Sohel" userId="e679ffe7-4a8e-4e56-b620-7ee1411c203f" providerId="ADAL" clId="{4E99356D-1F92-4D6E-8933-121F721F218A}" dt="2023-03-08T16:51:44.500" v="530"/>
          <ac:spMkLst>
            <pc:docMk/>
            <pc:sldMk cId="2427959410" sldId="282"/>
            <ac:spMk id="3" creationId="{91E38256-8FD4-B068-62EF-925AB851486E}"/>
          </ac:spMkLst>
        </pc:spChg>
      </pc:sldChg>
      <pc:sldChg chg="modSp del">
        <pc:chgData name="Kadari, Mr. Yuraja Sohel" userId="e679ffe7-4a8e-4e56-b620-7ee1411c203f" providerId="ADAL" clId="{4E99356D-1F92-4D6E-8933-121F721F218A}" dt="2023-03-08T17:31:23.152" v="1291" actId="47"/>
        <pc:sldMkLst>
          <pc:docMk/>
          <pc:sldMk cId="1017508091" sldId="283"/>
        </pc:sldMkLst>
        <pc:spChg chg="mod">
          <ac:chgData name="Kadari, Mr. Yuraja Sohel" userId="e679ffe7-4a8e-4e56-b620-7ee1411c203f" providerId="ADAL" clId="{4E99356D-1F92-4D6E-8933-121F721F218A}" dt="2023-03-08T16:51:44.500" v="530"/>
          <ac:spMkLst>
            <pc:docMk/>
            <pc:sldMk cId="1017508091" sldId="283"/>
            <ac:spMk id="2" creationId="{669E3019-FE2C-8962-8D1D-8D88885B40EC}"/>
          </ac:spMkLst>
        </pc:spChg>
        <pc:spChg chg="mod">
          <ac:chgData name="Kadari, Mr. Yuraja Sohel" userId="e679ffe7-4a8e-4e56-b620-7ee1411c203f" providerId="ADAL" clId="{4E99356D-1F92-4D6E-8933-121F721F218A}" dt="2023-03-08T16:51:44.500" v="530"/>
          <ac:spMkLst>
            <pc:docMk/>
            <pc:sldMk cId="1017508091" sldId="283"/>
            <ac:spMk id="3" creationId="{3E92E941-6129-B6E2-8950-D9AB694037AC}"/>
          </ac:spMkLst>
        </pc:spChg>
      </pc:sldChg>
      <pc:sldChg chg="del">
        <pc:chgData name="Kadari, Mr. Yuraja Sohel" userId="e679ffe7-4a8e-4e56-b620-7ee1411c203f" providerId="ADAL" clId="{4E99356D-1F92-4D6E-8933-121F721F218A}" dt="2023-03-08T22:41:12.555" v="5987" actId="47"/>
        <pc:sldMkLst>
          <pc:docMk/>
          <pc:sldMk cId="4019526852" sldId="284"/>
        </pc:sldMkLst>
      </pc:sldChg>
      <pc:sldChg chg="del">
        <pc:chgData name="Kadari, Mr. Yuraja Sohel" userId="e679ffe7-4a8e-4e56-b620-7ee1411c203f" providerId="ADAL" clId="{4E99356D-1F92-4D6E-8933-121F721F218A}" dt="2023-03-08T22:41:10.950" v="5984" actId="47"/>
        <pc:sldMkLst>
          <pc:docMk/>
          <pc:sldMk cId="2988190039" sldId="285"/>
        </pc:sldMkLst>
      </pc:sldChg>
      <pc:sldChg chg="setBg">
        <pc:chgData name="Kadari, Mr. Yuraja Sohel" userId="e679ffe7-4a8e-4e56-b620-7ee1411c203f" providerId="ADAL" clId="{4E99356D-1F92-4D6E-8933-121F721F218A}" dt="2023-03-08T16:53:12.063" v="640"/>
        <pc:sldMkLst>
          <pc:docMk/>
          <pc:sldMk cId="1361408607" sldId="292"/>
        </pc:sldMkLst>
      </pc:sldChg>
      <pc:sldChg chg="setBg">
        <pc:chgData name="Kadari, Mr. Yuraja Sohel" userId="e679ffe7-4a8e-4e56-b620-7ee1411c203f" providerId="ADAL" clId="{4E99356D-1F92-4D6E-8933-121F721F218A}" dt="2023-03-08T16:53:12.063" v="640"/>
        <pc:sldMkLst>
          <pc:docMk/>
          <pc:sldMk cId="2499868533" sldId="293"/>
        </pc:sldMkLst>
      </pc:sldChg>
      <pc:sldChg chg="setBg">
        <pc:chgData name="Kadari, Mr. Yuraja Sohel" userId="e679ffe7-4a8e-4e56-b620-7ee1411c203f" providerId="ADAL" clId="{4E99356D-1F92-4D6E-8933-121F721F218A}" dt="2023-03-08T16:53:12.063" v="640"/>
        <pc:sldMkLst>
          <pc:docMk/>
          <pc:sldMk cId="1582700825" sldId="296"/>
        </pc:sldMkLst>
      </pc:sldChg>
      <pc:sldChg chg="addSp modSp new mod setBg">
        <pc:chgData name="Kadari, Mr. Yuraja Sohel" userId="e679ffe7-4a8e-4e56-b620-7ee1411c203f" providerId="ADAL" clId="{4E99356D-1F92-4D6E-8933-121F721F218A}" dt="2023-03-09T00:05:49.099" v="6350" actId="20577"/>
        <pc:sldMkLst>
          <pc:docMk/>
          <pc:sldMk cId="2534075813" sldId="297"/>
        </pc:sldMkLst>
        <pc:spChg chg="mod">
          <ac:chgData name="Kadari, Mr. Yuraja Sohel" userId="e679ffe7-4a8e-4e56-b620-7ee1411c203f" providerId="ADAL" clId="{4E99356D-1F92-4D6E-8933-121F721F218A}" dt="2023-03-09T00:05:49.099" v="6350" actId="20577"/>
          <ac:spMkLst>
            <pc:docMk/>
            <pc:sldMk cId="2534075813" sldId="297"/>
            <ac:spMk id="2" creationId="{AAFAF4D0-80A4-413A-5813-E1FDD868B59A}"/>
          </ac:spMkLst>
        </pc:spChg>
        <pc:spChg chg="mod ord">
          <ac:chgData name="Kadari, Mr. Yuraja Sohel" userId="e679ffe7-4a8e-4e56-b620-7ee1411c203f" providerId="ADAL" clId="{4E99356D-1F92-4D6E-8933-121F721F218A}" dt="2023-03-08T16:58:44.839" v="922" actId="1076"/>
          <ac:spMkLst>
            <pc:docMk/>
            <pc:sldMk cId="2534075813" sldId="297"/>
            <ac:spMk id="3" creationId="{B50CDF01-8E52-A0CA-8DE0-2A7BDC534F94}"/>
          </ac:spMkLst>
        </pc:spChg>
        <pc:spChg chg="add">
          <ac:chgData name="Kadari, Mr. Yuraja Sohel" userId="e679ffe7-4a8e-4e56-b620-7ee1411c203f" providerId="ADAL" clId="{4E99356D-1F92-4D6E-8933-121F721F218A}" dt="2023-03-08T16:57:51.035" v="903" actId="26606"/>
          <ac:spMkLst>
            <pc:docMk/>
            <pc:sldMk cId="2534075813" sldId="297"/>
            <ac:spMk id="2055" creationId="{E45CA849-654C-4173-AD99-B3A2528275F5}"/>
          </ac:spMkLst>
        </pc:spChg>
        <pc:spChg chg="add">
          <ac:chgData name="Kadari, Mr. Yuraja Sohel" userId="e679ffe7-4a8e-4e56-b620-7ee1411c203f" providerId="ADAL" clId="{4E99356D-1F92-4D6E-8933-121F721F218A}" dt="2023-03-08T16:57:51.035" v="903" actId="26606"/>
          <ac:spMkLst>
            <pc:docMk/>
            <pc:sldMk cId="2534075813" sldId="297"/>
            <ac:spMk id="2057" creationId="{3E23A947-2D45-4208-AE2B-64948C87A3EB}"/>
          </ac:spMkLst>
        </pc:spChg>
        <pc:spChg chg="add">
          <ac:chgData name="Kadari, Mr. Yuraja Sohel" userId="e679ffe7-4a8e-4e56-b620-7ee1411c203f" providerId="ADAL" clId="{4E99356D-1F92-4D6E-8933-121F721F218A}" dt="2023-03-08T16:57:51.035" v="903" actId="26606"/>
          <ac:spMkLst>
            <pc:docMk/>
            <pc:sldMk cId="2534075813" sldId="297"/>
            <ac:spMk id="2059" creationId="{E5BBB0F9-6A59-4D02-A9C7-A2D6516684CE}"/>
          </ac:spMkLst>
        </pc:spChg>
        <pc:picChg chg="add mod">
          <ac:chgData name="Kadari, Mr. Yuraja Sohel" userId="e679ffe7-4a8e-4e56-b620-7ee1411c203f" providerId="ADAL" clId="{4E99356D-1F92-4D6E-8933-121F721F218A}" dt="2023-03-08T16:57:51.035" v="903" actId="26606"/>
          <ac:picMkLst>
            <pc:docMk/>
            <pc:sldMk cId="2534075813" sldId="297"/>
            <ac:picMk id="2050" creationId="{8B4511D7-B184-2DD5-D046-6234DFBD7ED9}"/>
          </ac:picMkLst>
        </pc:picChg>
      </pc:sldChg>
      <pc:sldChg chg="addSp delSp modSp new mod ord setBg setClrOvrMap">
        <pc:chgData name="Kadari, Mr. Yuraja Sohel" userId="e679ffe7-4a8e-4e56-b620-7ee1411c203f" providerId="ADAL" clId="{4E99356D-1F92-4D6E-8933-121F721F218A}" dt="2023-03-08T17:06:20.469" v="1055" actId="403"/>
        <pc:sldMkLst>
          <pc:docMk/>
          <pc:sldMk cId="1662107885" sldId="298"/>
        </pc:sldMkLst>
        <pc:spChg chg="mod">
          <ac:chgData name="Kadari, Mr. Yuraja Sohel" userId="e679ffe7-4a8e-4e56-b620-7ee1411c203f" providerId="ADAL" clId="{4E99356D-1F92-4D6E-8933-121F721F218A}" dt="2023-03-08T17:05:59.222" v="1050" actId="14100"/>
          <ac:spMkLst>
            <pc:docMk/>
            <pc:sldMk cId="1662107885" sldId="298"/>
            <ac:spMk id="2" creationId="{64FAC15D-948C-A764-6C70-7ABA9ABC63F7}"/>
          </ac:spMkLst>
        </pc:spChg>
        <pc:spChg chg="mod">
          <ac:chgData name="Kadari, Mr. Yuraja Sohel" userId="e679ffe7-4a8e-4e56-b620-7ee1411c203f" providerId="ADAL" clId="{4E99356D-1F92-4D6E-8933-121F721F218A}" dt="2023-03-08T17:06:20.469" v="1055" actId="403"/>
          <ac:spMkLst>
            <pc:docMk/>
            <pc:sldMk cId="1662107885" sldId="298"/>
            <ac:spMk id="3" creationId="{D4C0648C-FC56-25E5-68A8-79D86091D038}"/>
          </ac:spMkLst>
        </pc:spChg>
        <pc:spChg chg="add mod">
          <ac:chgData name="Kadari, Mr. Yuraja Sohel" userId="e679ffe7-4a8e-4e56-b620-7ee1411c203f" providerId="ADAL" clId="{4E99356D-1F92-4D6E-8933-121F721F218A}" dt="2023-03-08T17:05:29.354" v="1033" actId="1076"/>
          <ac:spMkLst>
            <pc:docMk/>
            <pc:sldMk cId="1662107885" sldId="298"/>
            <ac:spMk id="5" creationId="{5EC6F021-71FE-D896-59A5-B5EE8EE4B812}"/>
          </ac:spMkLst>
        </pc:spChg>
        <pc:spChg chg="add del">
          <ac:chgData name="Kadari, Mr. Yuraja Sohel" userId="e679ffe7-4a8e-4e56-b620-7ee1411c203f" providerId="ADAL" clId="{4E99356D-1F92-4D6E-8933-121F721F218A}" dt="2023-03-08T17:01:20.921" v="942" actId="26606"/>
          <ac:spMkLst>
            <pc:docMk/>
            <pc:sldMk cId="1662107885" sldId="298"/>
            <ac:spMk id="9" creationId="{ECC07320-C2CA-4E29-8481-9D9E143C7788}"/>
          </ac:spMkLst>
        </pc:spChg>
        <pc:spChg chg="add del">
          <ac:chgData name="Kadari, Mr. Yuraja Sohel" userId="e679ffe7-4a8e-4e56-b620-7ee1411c203f" providerId="ADAL" clId="{4E99356D-1F92-4D6E-8933-121F721F218A}" dt="2023-03-08T17:01:20.921" v="942" actId="26606"/>
          <ac:spMkLst>
            <pc:docMk/>
            <pc:sldMk cId="1662107885" sldId="298"/>
            <ac:spMk id="11" creationId="{178FB36B-5BFE-42CA-BC60-1115E0D95EEC}"/>
          </ac:spMkLst>
        </pc:spChg>
        <pc:spChg chg="add del">
          <ac:chgData name="Kadari, Mr. Yuraja Sohel" userId="e679ffe7-4a8e-4e56-b620-7ee1411c203f" providerId="ADAL" clId="{4E99356D-1F92-4D6E-8933-121F721F218A}" dt="2023-03-08T17:01:35.002" v="944" actId="26606"/>
          <ac:spMkLst>
            <pc:docMk/>
            <pc:sldMk cId="1662107885" sldId="298"/>
            <ac:spMk id="13" creationId="{ECC07320-C2CA-4E29-8481-9D9E143C7788}"/>
          </ac:spMkLst>
        </pc:spChg>
        <pc:spChg chg="add del">
          <ac:chgData name="Kadari, Mr. Yuraja Sohel" userId="e679ffe7-4a8e-4e56-b620-7ee1411c203f" providerId="ADAL" clId="{4E99356D-1F92-4D6E-8933-121F721F218A}" dt="2023-03-08T17:01:35.002" v="944" actId="26606"/>
          <ac:spMkLst>
            <pc:docMk/>
            <pc:sldMk cId="1662107885" sldId="298"/>
            <ac:spMk id="14" creationId="{178FB36B-5BFE-42CA-BC60-1115E0D95EEC}"/>
          </ac:spMkLst>
        </pc:spChg>
        <pc:spChg chg="add del">
          <ac:chgData name="Kadari, Mr. Yuraja Sohel" userId="e679ffe7-4a8e-4e56-b620-7ee1411c203f" providerId="ADAL" clId="{4E99356D-1F92-4D6E-8933-121F721F218A}" dt="2023-03-08T17:02:07.122" v="956" actId="26606"/>
          <ac:spMkLst>
            <pc:docMk/>
            <pc:sldMk cId="1662107885" sldId="298"/>
            <ac:spMk id="15" creationId="{08C9B587-E65E-4B52-B37C-ABEBB6E87928}"/>
          </ac:spMkLst>
        </pc:spChg>
        <pc:spChg chg="add del">
          <ac:chgData name="Kadari, Mr. Yuraja Sohel" userId="e679ffe7-4a8e-4e56-b620-7ee1411c203f" providerId="ADAL" clId="{4E99356D-1F92-4D6E-8933-121F721F218A}" dt="2023-03-08T17:02:07.122" v="956" actId="26606"/>
          <ac:spMkLst>
            <pc:docMk/>
            <pc:sldMk cId="1662107885" sldId="298"/>
            <ac:spMk id="16" creationId="{6CCA5F87-1D1E-45CB-8D83-FC7EEFAD9935}"/>
          </ac:spMkLst>
        </pc:spChg>
        <pc:spChg chg="add del">
          <ac:chgData name="Kadari, Mr. Yuraja Sohel" userId="e679ffe7-4a8e-4e56-b620-7ee1411c203f" providerId="ADAL" clId="{4E99356D-1F92-4D6E-8933-121F721F218A}" dt="2023-03-08T17:02:07.122" v="956" actId="26606"/>
          <ac:spMkLst>
            <pc:docMk/>
            <pc:sldMk cId="1662107885" sldId="298"/>
            <ac:spMk id="17" creationId="{7CCFC2C6-6238-4A2F-93DE-2ADF74AF635E}"/>
          </ac:spMkLst>
        </pc:spChg>
        <pc:spChg chg="add del">
          <ac:chgData name="Kadari, Mr. Yuraja Sohel" userId="e679ffe7-4a8e-4e56-b620-7ee1411c203f" providerId="ADAL" clId="{4E99356D-1F92-4D6E-8933-121F721F218A}" dt="2023-03-08T17:02:07.122" v="956" actId="26606"/>
          <ac:spMkLst>
            <pc:docMk/>
            <pc:sldMk cId="1662107885" sldId="298"/>
            <ac:spMk id="18" creationId="{AF2F604E-43BE-4DC3-B983-E071523364F8}"/>
          </ac:spMkLst>
        </pc:spChg>
        <pc:spChg chg="add del">
          <ac:chgData name="Kadari, Mr. Yuraja Sohel" userId="e679ffe7-4a8e-4e56-b620-7ee1411c203f" providerId="ADAL" clId="{4E99356D-1F92-4D6E-8933-121F721F218A}" dt="2023-03-08T17:02:04.087" v="953" actId="26606"/>
          <ac:spMkLst>
            <pc:docMk/>
            <pc:sldMk cId="1662107885" sldId="298"/>
            <ac:spMk id="23" creationId="{6CCA5F87-1D1E-45CB-8D83-FC7EEFAD9935}"/>
          </ac:spMkLst>
        </pc:spChg>
        <pc:spChg chg="add del">
          <ac:chgData name="Kadari, Mr. Yuraja Sohel" userId="e679ffe7-4a8e-4e56-b620-7ee1411c203f" providerId="ADAL" clId="{4E99356D-1F92-4D6E-8933-121F721F218A}" dt="2023-03-08T17:02:04.087" v="953" actId="26606"/>
          <ac:spMkLst>
            <pc:docMk/>
            <pc:sldMk cId="1662107885" sldId="298"/>
            <ac:spMk id="25" creationId="{7CCFC2C6-6238-4A2F-93DE-2ADF74AF635E}"/>
          </ac:spMkLst>
        </pc:spChg>
        <pc:spChg chg="add del">
          <ac:chgData name="Kadari, Mr. Yuraja Sohel" userId="e679ffe7-4a8e-4e56-b620-7ee1411c203f" providerId="ADAL" clId="{4E99356D-1F92-4D6E-8933-121F721F218A}" dt="2023-03-08T17:02:04.087" v="953" actId="26606"/>
          <ac:spMkLst>
            <pc:docMk/>
            <pc:sldMk cId="1662107885" sldId="298"/>
            <ac:spMk id="27" creationId="{AF2F604E-43BE-4DC3-B983-E071523364F8}"/>
          </ac:spMkLst>
        </pc:spChg>
        <pc:spChg chg="add del">
          <ac:chgData name="Kadari, Mr. Yuraja Sohel" userId="e679ffe7-4a8e-4e56-b620-7ee1411c203f" providerId="ADAL" clId="{4E99356D-1F92-4D6E-8933-121F721F218A}" dt="2023-03-08T17:02:04.087" v="953" actId="26606"/>
          <ac:spMkLst>
            <pc:docMk/>
            <pc:sldMk cId="1662107885" sldId="298"/>
            <ac:spMk id="29" creationId="{08C9B587-E65E-4B52-B37C-ABEBB6E87928}"/>
          </ac:spMkLst>
        </pc:spChg>
        <pc:spChg chg="add del">
          <ac:chgData name="Kadari, Mr. Yuraja Sohel" userId="e679ffe7-4a8e-4e56-b620-7ee1411c203f" providerId="ADAL" clId="{4E99356D-1F92-4D6E-8933-121F721F218A}" dt="2023-03-08T17:02:07.027" v="955" actId="26606"/>
          <ac:spMkLst>
            <pc:docMk/>
            <pc:sldMk cId="1662107885" sldId="298"/>
            <ac:spMk id="31" creationId="{8FC9BE17-9A7B-462D-AE50-3D8777387304}"/>
          </ac:spMkLst>
        </pc:spChg>
        <pc:spChg chg="add del">
          <ac:chgData name="Kadari, Mr. Yuraja Sohel" userId="e679ffe7-4a8e-4e56-b620-7ee1411c203f" providerId="ADAL" clId="{4E99356D-1F92-4D6E-8933-121F721F218A}" dt="2023-03-08T17:02:07.027" v="955" actId="26606"/>
          <ac:spMkLst>
            <pc:docMk/>
            <pc:sldMk cId="1662107885" sldId="298"/>
            <ac:spMk id="32" creationId="{3EBE8569-6AEC-4B8C-8D53-2DE337CDBA65}"/>
          </ac:spMkLst>
        </pc:spChg>
        <pc:spChg chg="add del">
          <ac:chgData name="Kadari, Mr. Yuraja Sohel" userId="e679ffe7-4a8e-4e56-b620-7ee1411c203f" providerId="ADAL" clId="{4E99356D-1F92-4D6E-8933-121F721F218A}" dt="2023-03-08T17:02:07.027" v="955" actId="26606"/>
          <ac:spMkLst>
            <pc:docMk/>
            <pc:sldMk cId="1662107885" sldId="298"/>
            <ac:spMk id="33" creationId="{55D4142C-5077-457F-A6AD-3FECFDB39685}"/>
          </ac:spMkLst>
        </pc:spChg>
        <pc:spChg chg="add del">
          <ac:chgData name="Kadari, Mr. Yuraja Sohel" userId="e679ffe7-4a8e-4e56-b620-7ee1411c203f" providerId="ADAL" clId="{4E99356D-1F92-4D6E-8933-121F721F218A}" dt="2023-03-08T17:02:07.027" v="955" actId="26606"/>
          <ac:spMkLst>
            <pc:docMk/>
            <pc:sldMk cId="1662107885" sldId="298"/>
            <ac:spMk id="34" creationId="{7A5F0580-5EE9-419F-96EE-B6529EF6E7D0}"/>
          </ac:spMkLst>
        </pc:spChg>
        <pc:spChg chg="add del">
          <ac:chgData name="Kadari, Mr. Yuraja Sohel" userId="e679ffe7-4a8e-4e56-b620-7ee1411c203f" providerId="ADAL" clId="{4E99356D-1F92-4D6E-8933-121F721F218A}" dt="2023-03-08T17:03:55.128" v="973" actId="26606"/>
          <ac:spMkLst>
            <pc:docMk/>
            <pc:sldMk cId="1662107885" sldId="298"/>
            <ac:spMk id="36" creationId="{9AA72BD9-2C5A-4EDC-931F-5AA08EACA0F3}"/>
          </ac:spMkLst>
        </pc:spChg>
        <pc:spChg chg="add del">
          <ac:chgData name="Kadari, Mr. Yuraja Sohel" userId="e679ffe7-4a8e-4e56-b620-7ee1411c203f" providerId="ADAL" clId="{4E99356D-1F92-4D6E-8933-121F721F218A}" dt="2023-03-08T17:03:55.128" v="973" actId="26606"/>
          <ac:spMkLst>
            <pc:docMk/>
            <pc:sldMk cId="1662107885" sldId="298"/>
            <ac:spMk id="37" creationId="{DD3981AC-7B61-4947-BCF3-F7AA7FA385B9}"/>
          </ac:spMkLst>
        </pc:spChg>
        <pc:spChg chg="add del">
          <ac:chgData name="Kadari, Mr. Yuraja Sohel" userId="e679ffe7-4a8e-4e56-b620-7ee1411c203f" providerId="ADAL" clId="{4E99356D-1F92-4D6E-8933-121F721F218A}" dt="2023-03-08T17:03:55.128" v="973" actId="26606"/>
          <ac:spMkLst>
            <pc:docMk/>
            <pc:sldMk cId="1662107885" sldId="298"/>
            <ac:spMk id="38" creationId="{55D4142C-5077-457F-A6AD-3FECFDB39685}"/>
          </ac:spMkLst>
        </pc:spChg>
        <pc:spChg chg="add del">
          <ac:chgData name="Kadari, Mr. Yuraja Sohel" userId="e679ffe7-4a8e-4e56-b620-7ee1411c203f" providerId="ADAL" clId="{4E99356D-1F92-4D6E-8933-121F721F218A}" dt="2023-03-08T17:03:55.128" v="973" actId="26606"/>
          <ac:spMkLst>
            <pc:docMk/>
            <pc:sldMk cId="1662107885" sldId="298"/>
            <ac:spMk id="39" creationId="{7A5F0580-5EE9-419F-96EE-B6529EF6E7D0}"/>
          </ac:spMkLst>
        </pc:spChg>
        <pc:spChg chg="add del">
          <ac:chgData name="Kadari, Mr. Yuraja Sohel" userId="e679ffe7-4a8e-4e56-b620-7ee1411c203f" providerId="ADAL" clId="{4E99356D-1F92-4D6E-8933-121F721F218A}" dt="2023-03-08T17:03:55.128" v="973" actId="26606"/>
          <ac:spMkLst>
            <pc:docMk/>
            <pc:sldMk cId="1662107885" sldId="298"/>
            <ac:spMk id="44" creationId="{657F69E0-C4B0-4BEC-A689-4F8D877F05D4}"/>
          </ac:spMkLst>
        </pc:spChg>
        <pc:spChg chg="add del">
          <ac:chgData name="Kadari, Mr. Yuraja Sohel" userId="e679ffe7-4a8e-4e56-b620-7ee1411c203f" providerId="ADAL" clId="{4E99356D-1F92-4D6E-8933-121F721F218A}" dt="2023-03-08T17:03:55.128" v="973" actId="26606"/>
          <ac:spMkLst>
            <pc:docMk/>
            <pc:sldMk cId="1662107885" sldId="298"/>
            <ac:spMk id="46" creationId="{9F6380B4-6A1C-481E-8408-B4E6C75B9B81}"/>
          </ac:spMkLst>
        </pc:spChg>
        <pc:picChg chg="add mod ord">
          <ac:chgData name="Kadari, Mr. Yuraja Sohel" userId="e679ffe7-4a8e-4e56-b620-7ee1411c203f" providerId="ADAL" clId="{4E99356D-1F92-4D6E-8933-121F721F218A}" dt="2023-03-08T17:05:53.925" v="1048" actId="1076"/>
          <ac:picMkLst>
            <pc:docMk/>
            <pc:sldMk cId="1662107885" sldId="298"/>
            <ac:picMk id="4" creationId="{D020B5AA-E9C8-89AE-0A36-E6E2E41BBC08}"/>
          </ac:picMkLst>
        </pc:picChg>
      </pc:sldChg>
      <pc:sldChg chg="addSp delSp modSp new del mod">
        <pc:chgData name="Kadari, Mr. Yuraja Sohel" userId="e679ffe7-4a8e-4e56-b620-7ee1411c203f" providerId="ADAL" clId="{4E99356D-1F92-4D6E-8933-121F721F218A}" dt="2023-03-08T17:23:11.547" v="1219" actId="2696"/>
        <pc:sldMkLst>
          <pc:docMk/>
          <pc:sldMk cId="4173247955" sldId="299"/>
        </pc:sldMkLst>
        <pc:spChg chg="mod">
          <ac:chgData name="Kadari, Mr. Yuraja Sohel" userId="e679ffe7-4a8e-4e56-b620-7ee1411c203f" providerId="ADAL" clId="{4E99356D-1F92-4D6E-8933-121F721F218A}" dt="2023-03-08T17:08:52.147" v="1098" actId="1076"/>
          <ac:spMkLst>
            <pc:docMk/>
            <pc:sldMk cId="4173247955" sldId="299"/>
            <ac:spMk id="2" creationId="{F0E1A090-591A-16D5-A5C6-779FE3ACB0C4}"/>
          </ac:spMkLst>
        </pc:spChg>
        <pc:spChg chg="mod">
          <ac:chgData name="Kadari, Mr. Yuraja Sohel" userId="e679ffe7-4a8e-4e56-b620-7ee1411c203f" providerId="ADAL" clId="{4E99356D-1F92-4D6E-8933-121F721F218A}" dt="2023-03-08T17:11:10.441" v="1150" actId="113"/>
          <ac:spMkLst>
            <pc:docMk/>
            <pc:sldMk cId="4173247955" sldId="299"/>
            <ac:spMk id="3" creationId="{8AC27679-7407-8EE9-AC68-AD44661420D5}"/>
          </ac:spMkLst>
        </pc:spChg>
        <pc:grpChg chg="add del mod">
          <ac:chgData name="Kadari, Mr. Yuraja Sohel" userId="e679ffe7-4a8e-4e56-b620-7ee1411c203f" providerId="ADAL" clId="{4E99356D-1F92-4D6E-8933-121F721F218A}" dt="2023-03-08T17:20:12.368" v="1171" actId="21"/>
          <ac:grpSpMkLst>
            <pc:docMk/>
            <pc:sldMk cId="4173247955" sldId="299"/>
            <ac:grpSpMk id="4" creationId="{0B3BF407-FE4A-FAC7-333D-293067DB77CE}"/>
          </ac:grpSpMkLst>
        </pc:grpChg>
        <pc:picChg chg="mod">
          <ac:chgData name="Kadari, Mr. Yuraja Sohel" userId="e679ffe7-4a8e-4e56-b620-7ee1411c203f" providerId="ADAL" clId="{4E99356D-1F92-4D6E-8933-121F721F218A}" dt="2023-03-08T17:08:57.662" v="1100"/>
          <ac:picMkLst>
            <pc:docMk/>
            <pc:sldMk cId="4173247955" sldId="299"/>
            <ac:picMk id="5" creationId="{AB20AAED-64DC-BC0B-711D-6BA159384DCE}"/>
          </ac:picMkLst>
        </pc:picChg>
        <pc:picChg chg="mod">
          <ac:chgData name="Kadari, Mr. Yuraja Sohel" userId="e679ffe7-4a8e-4e56-b620-7ee1411c203f" providerId="ADAL" clId="{4E99356D-1F92-4D6E-8933-121F721F218A}" dt="2023-03-08T17:08:57.662" v="1100"/>
          <ac:picMkLst>
            <pc:docMk/>
            <pc:sldMk cId="4173247955" sldId="299"/>
            <ac:picMk id="6" creationId="{3DDEB6A3-178D-12AD-8ABA-21527FDE061B}"/>
          </ac:picMkLst>
        </pc:picChg>
        <pc:picChg chg="add del mod">
          <ac:chgData name="Kadari, Mr. Yuraja Sohel" userId="e679ffe7-4a8e-4e56-b620-7ee1411c203f" providerId="ADAL" clId="{4E99356D-1F92-4D6E-8933-121F721F218A}" dt="2023-03-08T17:20:20.358" v="1174" actId="21"/>
          <ac:picMkLst>
            <pc:docMk/>
            <pc:sldMk cId="4173247955" sldId="299"/>
            <ac:picMk id="7" creationId="{D0C03698-9279-B0EA-293B-18BAEACD85B4}"/>
          </ac:picMkLst>
        </pc:picChg>
      </pc:sldChg>
      <pc:sldChg chg="addSp modSp new mod ord setBg">
        <pc:chgData name="Kadari, Mr. Yuraja Sohel" userId="e679ffe7-4a8e-4e56-b620-7ee1411c203f" providerId="ADAL" clId="{4E99356D-1F92-4D6E-8933-121F721F218A}" dt="2023-03-08T18:21:02.968" v="1857" actId="123"/>
        <pc:sldMkLst>
          <pc:docMk/>
          <pc:sldMk cId="1788807025" sldId="300"/>
        </pc:sldMkLst>
        <pc:spChg chg="mod">
          <ac:chgData name="Kadari, Mr. Yuraja Sohel" userId="e679ffe7-4a8e-4e56-b620-7ee1411c203f" providerId="ADAL" clId="{4E99356D-1F92-4D6E-8933-121F721F218A}" dt="2023-03-08T17:12:25.216" v="1165" actId="14100"/>
          <ac:spMkLst>
            <pc:docMk/>
            <pc:sldMk cId="1788807025" sldId="300"/>
            <ac:spMk id="2" creationId="{4E2D9FA9-D359-6F04-5A1A-37D50F2E85D9}"/>
          </ac:spMkLst>
        </pc:spChg>
        <pc:spChg chg="mod">
          <ac:chgData name="Kadari, Mr. Yuraja Sohel" userId="e679ffe7-4a8e-4e56-b620-7ee1411c203f" providerId="ADAL" clId="{4E99356D-1F92-4D6E-8933-121F721F218A}" dt="2023-03-08T18:21:02.968" v="1857" actId="123"/>
          <ac:spMkLst>
            <pc:docMk/>
            <pc:sldMk cId="1788807025" sldId="300"/>
            <ac:spMk id="3" creationId="{A3B70E7C-5F23-B153-6F2F-B134B3F4A979}"/>
          </ac:spMkLst>
        </pc:spChg>
        <pc:spChg chg="add">
          <ac:chgData name="Kadari, Mr. Yuraja Sohel" userId="e679ffe7-4a8e-4e56-b620-7ee1411c203f" providerId="ADAL" clId="{4E99356D-1F92-4D6E-8933-121F721F218A}" dt="2023-03-08T17:11:51.065" v="1156" actId="26606"/>
          <ac:spMkLst>
            <pc:docMk/>
            <pc:sldMk cId="1788807025" sldId="300"/>
            <ac:spMk id="9" creationId="{04812C46-200A-4DEB-A05E-3ED6C68C2387}"/>
          </ac:spMkLst>
        </pc:spChg>
        <pc:picChg chg="add">
          <ac:chgData name="Kadari, Mr. Yuraja Sohel" userId="e679ffe7-4a8e-4e56-b620-7ee1411c203f" providerId="ADAL" clId="{4E99356D-1F92-4D6E-8933-121F721F218A}" dt="2023-03-08T17:11:51.065" v="1156" actId="26606"/>
          <ac:picMkLst>
            <pc:docMk/>
            <pc:sldMk cId="1788807025" sldId="300"/>
            <ac:picMk id="5" creationId="{2E98F804-7492-7F44-2DC8-7EF038499ED9}"/>
          </ac:picMkLst>
        </pc:picChg>
      </pc:sldChg>
      <pc:sldChg chg="addSp delSp modSp new del mod">
        <pc:chgData name="Kadari, Mr. Yuraja Sohel" userId="e679ffe7-4a8e-4e56-b620-7ee1411c203f" providerId="ADAL" clId="{4E99356D-1F92-4D6E-8933-121F721F218A}" dt="2023-03-08T17:27:45.272" v="1262" actId="2696"/>
        <pc:sldMkLst>
          <pc:docMk/>
          <pc:sldMk cId="2210381990" sldId="301"/>
        </pc:sldMkLst>
        <pc:spChg chg="mod">
          <ac:chgData name="Kadari, Mr. Yuraja Sohel" userId="e679ffe7-4a8e-4e56-b620-7ee1411c203f" providerId="ADAL" clId="{4E99356D-1F92-4D6E-8933-121F721F218A}" dt="2023-03-08T17:25:17.386" v="1221" actId="21"/>
          <ac:spMkLst>
            <pc:docMk/>
            <pc:sldMk cId="2210381990" sldId="301"/>
            <ac:spMk id="2" creationId="{24B400D8-E8DC-1A5D-7883-A9267E578B86}"/>
          </ac:spMkLst>
        </pc:spChg>
        <pc:spChg chg="add del mod">
          <ac:chgData name="Kadari, Mr. Yuraja Sohel" userId="e679ffe7-4a8e-4e56-b620-7ee1411c203f" providerId="ADAL" clId="{4E99356D-1F92-4D6E-8933-121F721F218A}" dt="2023-03-08T17:21:34.226" v="1195" actId="26606"/>
          <ac:spMkLst>
            <pc:docMk/>
            <pc:sldMk cId="2210381990" sldId="301"/>
            <ac:spMk id="3" creationId="{22550571-987F-23E3-FFEF-66A4C96DE379}"/>
          </ac:spMkLst>
        </pc:spChg>
        <pc:grpChg chg="add del mod">
          <ac:chgData name="Kadari, Mr. Yuraja Sohel" userId="e679ffe7-4a8e-4e56-b620-7ee1411c203f" providerId="ADAL" clId="{4E99356D-1F92-4D6E-8933-121F721F218A}" dt="2023-03-08T17:25:44.107" v="1225" actId="21"/>
          <ac:grpSpMkLst>
            <pc:docMk/>
            <pc:sldMk cId="2210381990" sldId="301"/>
            <ac:grpSpMk id="4" creationId="{7CE78C5C-213B-6DD3-7985-0D7C2970FAA3}"/>
          </ac:grpSpMkLst>
        </pc:grpChg>
        <pc:graphicFrameChg chg="add del">
          <ac:chgData name="Kadari, Mr. Yuraja Sohel" userId="e679ffe7-4a8e-4e56-b620-7ee1411c203f" providerId="ADAL" clId="{4E99356D-1F92-4D6E-8933-121F721F218A}" dt="2023-03-08T17:20:53.610" v="1181" actId="26606"/>
          <ac:graphicFrameMkLst>
            <pc:docMk/>
            <pc:sldMk cId="2210381990" sldId="301"/>
            <ac:graphicFrameMk id="9" creationId="{56EFC892-ADF3-B86A-E429-EF76F038B55F}"/>
          </ac:graphicFrameMkLst>
        </pc:graphicFrameChg>
        <pc:graphicFrameChg chg="add del">
          <ac:chgData name="Kadari, Mr. Yuraja Sohel" userId="e679ffe7-4a8e-4e56-b620-7ee1411c203f" providerId="ADAL" clId="{4E99356D-1F92-4D6E-8933-121F721F218A}" dt="2023-03-08T17:21:30.251" v="1186" actId="26606"/>
          <ac:graphicFrameMkLst>
            <pc:docMk/>
            <pc:sldMk cId="2210381990" sldId="301"/>
            <ac:graphicFrameMk id="10" creationId="{4B63C3C2-1A8D-D71C-6D72-8187AFB0844A}"/>
          </ac:graphicFrameMkLst>
        </pc:graphicFrameChg>
        <pc:graphicFrameChg chg="add del">
          <ac:chgData name="Kadari, Mr. Yuraja Sohel" userId="e679ffe7-4a8e-4e56-b620-7ee1411c203f" providerId="ADAL" clId="{4E99356D-1F92-4D6E-8933-121F721F218A}" dt="2023-03-08T17:21:31.114" v="1188" actId="26606"/>
          <ac:graphicFrameMkLst>
            <pc:docMk/>
            <pc:sldMk cId="2210381990" sldId="301"/>
            <ac:graphicFrameMk id="12" creationId="{245AD13F-349D-38F3-6020-36545791B077}"/>
          </ac:graphicFrameMkLst>
        </pc:graphicFrameChg>
        <pc:graphicFrameChg chg="add del">
          <ac:chgData name="Kadari, Mr. Yuraja Sohel" userId="e679ffe7-4a8e-4e56-b620-7ee1411c203f" providerId="ADAL" clId="{4E99356D-1F92-4D6E-8933-121F721F218A}" dt="2023-03-08T17:21:31.916" v="1190" actId="26606"/>
          <ac:graphicFrameMkLst>
            <pc:docMk/>
            <pc:sldMk cId="2210381990" sldId="301"/>
            <ac:graphicFrameMk id="14" creationId="{E8348469-AF78-3451-AEAB-EAB936A6695A}"/>
          </ac:graphicFrameMkLst>
        </pc:graphicFrameChg>
        <pc:graphicFrameChg chg="add del">
          <ac:chgData name="Kadari, Mr. Yuraja Sohel" userId="e679ffe7-4a8e-4e56-b620-7ee1411c203f" providerId="ADAL" clId="{4E99356D-1F92-4D6E-8933-121F721F218A}" dt="2023-03-08T17:21:33.473" v="1192" actId="26606"/>
          <ac:graphicFrameMkLst>
            <pc:docMk/>
            <pc:sldMk cId="2210381990" sldId="301"/>
            <ac:graphicFrameMk id="16" creationId="{D2FA4019-E0C4-12B6-76EA-30795A317A20}"/>
          </ac:graphicFrameMkLst>
        </pc:graphicFrameChg>
        <pc:graphicFrameChg chg="add del">
          <ac:chgData name="Kadari, Mr. Yuraja Sohel" userId="e679ffe7-4a8e-4e56-b620-7ee1411c203f" providerId="ADAL" clId="{4E99356D-1F92-4D6E-8933-121F721F218A}" dt="2023-03-08T17:21:34.210" v="1194" actId="26606"/>
          <ac:graphicFrameMkLst>
            <pc:docMk/>
            <pc:sldMk cId="2210381990" sldId="301"/>
            <ac:graphicFrameMk id="18" creationId="{E8348469-AF78-3451-AEAB-EAB936A6695A}"/>
          </ac:graphicFrameMkLst>
        </pc:graphicFrameChg>
        <pc:graphicFrameChg chg="add mod modGraphic">
          <ac:chgData name="Kadari, Mr. Yuraja Sohel" userId="e679ffe7-4a8e-4e56-b620-7ee1411c203f" providerId="ADAL" clId="{4E99356D-1F92-4D6E-8933-121F721F218A}" dt="2023-03-08T17:26:14.629" v="1236"/>
          <ac:graphicFrameMkLst>
            <pc:docMk/>
            <pc:sldMk cId="2210381990" sldId="301"/>
            <ac:graphicFrameMk id="20" creationId="{D2FA4019-E0C4-12B6-76EA-30795A317A20}"/>
          </ac:graphicFrameMkLst>
        </pc:graphicFrameChg>
        <pc:picChg chg="mod">
          <ac:chgData name="Kadari, Mr. Yuraja Sohel" userId="e679ffe7-4a8e-4e56-b620-7ee1411c203f" providerId="ADAL" clId="{4E99356D-1F92-4D6E-8933-121F721F218A}" dt="2023-03-08T17:20:16.009" v="1172"/>
          <ac:picMkLst>
            <pc:docMk/>
            <pc:sldMk cId="2210381990" sldId="301"/>
            <ac:picMk id="5" creationId="{F927F928-3A87-93F4-9D64-D8B1C004BFD4}"/>
          </ac:picMkLst>
        </pc:picChg>
        <pc:picChg chg="mod">
          <ac:chgData name="Kadari, Mr. Yuraja Sohel" userId="e679ffe7-4a8e-4e56-b620-7ee1411c203f" providerId="ADAL" clId="{4E99356D-1F92-4D6E-8933-121F721F218A}" dt="2023-03-08T17:20:16.009" v="1172"/>
          <ac:picMkLst>
            <pc:docMk/>
            <pc:sldMk cId="2210381990" sldId="301"/>
            <ac:picMk id="6" creationId="{1766EC8A-0BF7-AC10-08FC-B29E7D66BA77}"/>
          </ac:picMkLst>
        </pc:picChg>
        <pc:picChg chg="add del mod">
          <ac:chgData name="Kadari, Mr. Yuraja Sohel" userId="e679ffe7-4a8e-4e56-b620-7ee1411c203f" providerId="ADAL" clId="{4E99356D-1F92-4D6E-8933-121F721F218A}" dt="2023-03-08T17:25:51.117" v="1228" actId="21"/>
          <ac:picMkLst>
            <pc:docMk/>
            <pc:sldMk cId="2210381990" sldId="301"/>
            <ac:picMk id="7" creationId="{BDAAC23E-9994-EFCA-929D-E6BA9775BE9D}"/>
          </ac:picMkLst>
        </pc:picChg>
      </pc:sldChg>
      <pc:sldChg chg="addSp modSp new mod">
        <pc:chgData name="Kadari, Mr. Yuraja Sohel" userId="e679ffe7-4a8e-4e56-b620-7ee1411c203f" providerId="ADAL" clId="{4E99356D-1F92-4D6E-8933-121F721F218A}" dt="2023-03-08T18:21:08.170" v="1858" actId="123"/>
        <pc:sldMkLst>
          <pc:docMk/>
          <pc:sldMk cId="503225009" sldId="304"/>
        </pc:sldMkLst>
        <pc:spChg chg="mod">
          <ac:chgData name="Kadari, Mr. Yuraja Sohel" userId="e679ffe7-4a8e-4e56-b620-7ee1411c203f" providerId="ADAL" clId="{4E99356D-1F92-4D6E-8933-121F721F218A}" dt="2023-03-08T17:27:26.360" v="1258" actId="1076"/>
          <ac:spMkLst>
            <pc:docMk/>
            <pc:sldMk cId="503225009" sldId="304"/>
            <ac:spMk id="2" creationId="{37854D7D-FA29-0135-59B8-72DCA682D6E8}"/>
          </ac:spMkLst>
        </pc:spChg>
        <pc:spChg chg="mod">
          <ac:chgData name="Kadari, Mr. Yuraja Sohel" userId="e679ffe7-4a8e-4e56-b620-7ee1411c203f" providerId="ADAL" clId="{4E99356D-1F92-4D6E-8933-121F721F218A}" dt="2023-03-08T18:21:08.170" v="1858" actId="123"/>
          <ac:spMkLst>
            <pc:docMk/>
            <pc:sldMk cId="503225009" sldId="304"/>
            <ac:spMk id="3" creationId="{6C1032C0-D591-9107-B93C-53A955A7F168}"/>
          </ac:spMkLst>
        </pc:spChg>
        <pc:grpChg chg="add mod">
          <ac:chgData name="Kadari, Mr. Yuraja Sohel" userId="e679ffe7-4a8e-4e56-b620-7ee1411c203f" providerId="ADAL" clId="{4E99356D-1F92-4D6E-8933-121F721F218A}" dt="2023-03-08T17:27:29.458" v="1259" actId="1076"/>
          <ac:grpSpMkLst>
            <pc:docMk/>
            <pc:sldMk cId="503225009" sldId="304"/>
            <ac:grpSpMk id="4" creationId="{A70662D3-64CB-9426-CA0D-35D016238F55}"/>
          </ac:grpSpMkLst>
        </pc:grpChg>
        <pc:picChg chg="mod">
          <ac:chgData name="Kadari, Mr. Yuraja Sohel" userId="e679ffe7-4a8e-4e56-b620-7ee1411c203f" providerId="ADAL" clId="{4E99356D-1F92-4D6E-8933-121F721F218A}" dt="2023-03-08T17:25:46.809" v="1226"/>
          <ac:picMkLst>
            <pc:docMk/>
            <pc:sldMk cId="503225009" sldId="304"/>
            <ac:picMk id="5" creationId="{39F02904-3A7A-53F0-CCA8-CD8FD26CD041}"/>
          </ac:picMkLst>
        </pc:picChg>
        <pc:picChg chg="mod">
          <ac:chgData name="Kadari, Mr. Yuraja Sohel" userId="e679ffe7-4a8e-4e56-b620-7ee1411c203f" providerId="ADAL" clId="{4E99356D-1F92-4D6E-8933-121F721F218A}" dt="2023-03-08T17:25:46.809" v="1226"/>
          <ac:picMkLst>
            <pc:docMk/>
            <pc:sldMk cId="503225009" sldId="304"/>
            <ac:picMk id="6" creationId="{4E4113BC-1B01-7378-8A24-477C1F2B6B05}"/>
          </ac:picMkLst>
        </pc:picChg>
        <pc:picChg chg="add mod">
          <ac:chgData name="Kadari, Mr. Yuraja Sohel" userId="e679ffe7-4a8e-4e56-b620-7ee1411c203f" providerId="ADAL" clId="{4E99356D-1F92-4D6E-8933-121F721F218A}" dt="2023-03-08T17:27:30.967" v="1260" actId="1076"/>
          <ac:picMkLst>
            <pc:docMk/>
            <pc:sldMk cId="503225009" sldId="304"/>
            <ac:picMk id="7" creationId="{2D73A41E-0319-D4E2-3D5B-EF1471EB7C32}"/>
          </ac:picMkLst>
        </pc:picChg>
      </pc:sldChg>
      <pc:sldChg chg="addSp modSp new mod setBg">
        <pc:chgData name="Kadari, Mr. Yuraja Sohel" userId="e679ffe7-4a8e-4e56-b620-7ee1411c203f" providerId="ADAL" clId="{4E99356D-1F92-4D6E-8933-121F721F218A}" dt="2023-03-08T18:54:31.869" v="2252" actId="1076"/>
        <pc:sldMkLst>
          <pc:docMk/>
          <pc:sldMk cId="3985600597" sldId="305"/>
        </pc:sldMkLst>
        <pc:spChg chg="mod">
          <ac:chgData name="Kadari, Mr. Yuraja Sohel" userId="e679ffe7-4a8e-4e56-b620-7ee1411c203f" providerId="ADAL" clId="{4E99356D-1F92-4D6E-8933-121F721F218A}" dt="2023-03-08T17:30:37.041" v="1281" actId="403"/>
          <ac:spMkLst>
            <pc:docMk/>
            <pc:sldMk cId="3985600597" sldId="305"/>
            <ac:spMk id="2" creationId="{150B3470-9468-9DD8-033E-3E966415329F}"/>
          </ac:spMkLst>
        </pc:spChg>
        <pc:spChg chg="mod">
          <ac:chgData name="Kadari, Mr. Yuraja Sohel" userId="e679ffe7-4a8e-4e56-b620-7ee1411c203f" providerId="ADAL" clId="{4E99356D-1F92-4D6E-8933-121F721F218A}" dt="2023-03-08T17:30:58.062" v="1288" actId="14100"/>
          <ac:spMkLst>
            <pc:docMk/>
            <pc:sldMk cId="3985600597" sldId="305"/>
            <ac:spMk id="3" creationId="{FFA675CD-7810-3DD1-56E7-5E76E2AB7B7D}"/>
          </ac:spMkLst>
        </pc:spChg>
        <pc:spChg chg="add">
          <ac:chgData name="Kadari, Mr. Yuraja Sohel" userId="e679ffe7-4a8e-4e56-b620-7ee1411c203f" providerId="ADAL" clId="{4E99356D-1F92-4D6E-8933-121F721F218A}" dt="2023-03-08T17:30:22.660" v="1277" actId="26606"/>
          <ac:spMkLst>
            <pc:docMk/>
            <pc:sldMk cId="3985600597" sldId="305"/>
            <ac:spMk id="9" creationId="{5C9B446A-6343-4E56-90BA-061E4DDF0FFB}"/>
          </ac:spMkLst>
        </pc:spChg>
        <pc:spChg chg="add">
          <ac:chgData name="Kadari, Mr. Yuraja Sohel" userId="e679ffe7-4a8e-4e56-b620-7ee1411c203f" providerId="ADAL" clId="{4E99356D-1F92-4D6E-8933-121F721F218A}" dt="2023-03-08T17:30:22.660" v="1277" actId="26606"/>
          <ac:spMkLst>
            <pc:docMk/>
            <pc:sldMk cId="3985600597" sldId="305"/>
            <ac:spMk id="11" creationId="{3EC72A1B-03D3-499C-B4BF-AC68EEC22B10}"/>
          </ac:spMkLst>
        </pc:spChg>
        <pc:spChg chg="add">
          <ac:chgData name="Kadari, Mr. Yuraja Sohel" userId="e679ffe7-4a8e-4e56-b620-7ee1411c203f" providerId="ADAL" clId="{4E99356D-1F92-4D6E-8933-121F721F218A}" dt="2023-03-08T17:30:22.660" v="1277" actId="26606"/>
          <ac:spMkLst>
            <pc:docMk/>
            <pc:sldMk cId="3985600597" sldId="305"/>
            <ac:spMk id="13" creationId="{216322C2-3CF0-4D33-BF90-3F384CF6D232}"/>
          </ac:spMkLst>
        </pc:spChg>
        <pc:spChg chg="add">
          <ac:chgData name="Kadari, Mr. Yuraja Sohel" userId="e679ffe7-4a8e-4e56-b620-7ee1411c203f" providerId="ADAL" clId="{4E99356D-1F92-4D6E-8933-121F721F218A}" dt="2023-03-08T17:30:22.660" v="1277" actId="26606"/>
          <ac:spMkLst>
            <pc:docMk/>
            <pc:sldMk cId="3985600597" sldId="305"/>
            <ac:spMk id="15" creationId="{55D4142C-5077-457F-A6AD-3FECFDB39685}"/>
          </ac:spMkLst>
        </pc:spChg>
        <pc:spChg chg="add">
          <ac:chgData name="Kadari, Mr. Yuraja Sohel" userId="e679ffe7-4a8e-4e56-b620-7ee1411c203f" providerId="ADAL" clId="{4E99356D-1F92-4D6E-8933-121F721F218A}" dt="2023-03-08T17:30:22.660" v="1277" actId="26606"/>
          <ac:spMkLst>
            <pc:docMk/>
            <pc:sldMk cId="3985600597" sldId="305"/>
            <ac:spMk id="17" creationId="{7A5F0580-5EE9-419F-96EE-B6529EF6E7D0}"/>
          </ac:spMkLst>
        </pc:spChg>
        <pc:picChg chg="add mod">
          <ac:chgData name="Kadari, Mr. Yuraja Sohel" userId="e679ffe7-4a8e-4e56-b620-7ee1411c203f" providerId="ADAL" clId="{4E99356D-1F92-4D6E-8933-121F721F218A}" dt="2023-03-08T18:54:31.869" v="2252" actId="1076"/>
          <ac:picMkLst>
            <pc:docMk/>
            <pc:sldMk cId="3985600597" sldId="305"/>
            <ac:picMk id="4" creationId="{9E900A26-F432-EAF9-263F-1C5125E922F8}"/>
          </ac:picMkLst>
        </pc:picChg>
      </pc:sldChg>
      <pc:sldChg chg="addSp delSp modSp new mod setBg">
        <pc:chgData name="Kadari, Mr. Yuraja Sohel" userId="e679ffe7-4a8e-4e56-b620-7ee1411c203f" providerId="ADAL" clId="{4E99356D-1F92-4D6E-8933-121F721F218A}" dt="2023-03-08T19:41:04.462" v="2949" actId="1076"/>
        <pc:sldMkLst>
          <pc:docMk/>
          <pc:sldMk cId="3983303221" sldId="306"/>
        </pc:sldMkLst>
        <pc:spChg chg="mod">
          <ac:chgData name="Kadari, Mr. Yuraja Sohel" userId="e679ffe7-4a8e-4e56-b620-7ee1411c203f" providerId="ADAL" clId="{4E99356D-1F92-4D6E-8933-121F721F218A}" dt="2023-03-08T18:21:59.188" v="1865" actId="1076"/>
          <ac:spMkLst>
            <pc:docMk/>
            <pc:sldMk cId="3983303221" sldId="306"/>
            <ac:spMk id="2" creationId="{526B4FA2-E412-A808-0552-86EA1470B3CF}"/>
          </ac:spMkLst>
        </pc:spChg>
        <pc:spChg chg="del">
          <ac:chgData name="Kadari, Mr. Yuraja Sohel" userId="e679ffe7-4a8e-4e56-b620-7ee1411c203f" providerId="ADAL" clId="{4E99356D-1F92-4D6E-8933-121F721F218A}" dt="2023-03-08T17:32:04.783" v="1301"/>
          <ac:spMkLst>
            <pc:docMk/>
            <pc:sldMk cId="3983303221" sldId="306"/>
            <ac:spMk id="3" creationId="{DEB0E621-281E-756B-9D56-6EE001AC010D}"/>
          </ac:spMkLst>
        </pc:spChg>
        <pc:spChg chg="add mod">
          <ac:chgData name="Kadari, Mr. Yuraja Sohel" userId="e679ffe7-4a8e-4e56-b620-7ee1411c203f" providerId="ADAL" clId="{4E99356D-1F92-4D6E-8933-121F721F218A}" dt="2023-03-08T18:22:31.826" v="1870" actId="5793"/>
          <ac:spMkLst>
            <pc:docMk/>
            <pc:sldMk cId="3983303221" sldId="306"/>
            <ac:spMk id="5" creationId="{B1BFC84A-A622-A732-5106-3A86A16AE07F}"/>
          </ac:spMkLst>
        </pc:spChg>
        <pc:spChg chg="add mod">
          <ac:chgData name="Kadari, Mr. Yuraja Sohel" userId="e679ffe7-4a8e-4e56-b620-7ee1411c203f" providerId="ADAL" clId="{4E99356D-1F92-4D6E-8933-121F721F218A}" dt="2023-03-08T19:41:04.462" v="2949" actId="1076"/>
          <ac:spMkLst>
            <pc:docMk/>
            <pc:sldMk cId="3983303221" sldId="306"/>
            <ac:spMk id="6" creationId="{6D7A62DC-63C8-4E32-C8EF-609F9CA7A7E3}"/>
          </ac:spMkLst>
        </pc:spChg>
        <pc:spChg chg="add del">
          <ac:chgData name="Kadari, Mr. Yuraja Sohel" userId="e679ffe7-4a8e-4e56-b620-7ee1411c203f" providerId="ADAL" clId="{4E99356D-1F92-4D6E-8933-121F721F218A}" dt="2023-03-08T17:38:02.512" v="1332" actId="26606"/>
          <ac:spMkLst>
            <pc:docMk/>
            <pc:sldMk cId="3983303221" sldId="306"/>
            <ac:spMk id="10" creationId="{131BAD53-4E89-4F62-BBB7-26359763ED39}"/>
          </ac:spMkLst>
        </pc:spChg>
        <pc:spChg chg="add del">
          <ac:chgData name="Kadari, Mr. Yuraja Sohel" userId="e679ffe7-4a8e-4e56-b620-7ee1411c203f" providerId="ADAL" clId="{4E99356D-1F92-4D6E-8933-121F721F218A}" dt="2023-03-08T17:38:02.512" v="1332" actId="26606"/>
          <ac:spMkLst>
            <pc:docMk/>
            <pc:sldMk cId="3983303221" sldId="306"/>
            <ac:spMk id="12" creationId="{62756DA2-40EB-4C6F-B962-5822FFB54FB6}"/>
          </ac:spMkLst>
        </pc:spChg>
        <pc:spChg chg="add del">
          <ac:chgData name="Kadari, Mr. Yuraja Sohel" userId="e679ffe7-4a8e-4e56-b620-7ee1411c203f" providerId="ADAL" clId="{4E99356D-1F92-4D6E-8933-121F721F218A}" dt="2023-03-08T17:38:08.252" v="1334" actId="26606"/>
          <ac:spMkLst>
            <pc:docMk/>
            <pc:sldMk cId="3983303221" sldId="306"/>
            <ac:spMk id="14" creationId="{2B97F24A-32CE-4C1C-A50D-3016B394DCFB}"/>
          </ac:spMkLst>
        </pc:spChg>
        <pc:spChg chg="add del">
          <ac:chgData name="Kadari, Mr. Yuraja Sohel" userId="e679ffe7-4a8e-4e56-b620-7ee1411c203f" providerId="ADAL" clId="{4E99356D-1F92-4D6E-8933-121F721F218A}" dt="2023-03-08T17:38:08.252" v="1334" actId="26606"/>
          <ac:spMkLst>
            <pc:docMk/>
            <pc:sldMk cId="3983303221" sldId="306"/>
            <ac:spMk id="15" creationId="{6357EC4F-235E-4222-A36F-C7878ACE37F2}"/>
          </ac:spMkLst>
        </pc:spChg>
        <pc:spChg chg="add">
          <ac:chgData name="Kadari, Mr. Yuraja Sohel" userId="e679ffe7-4a8e-4e56-b620-7ee1411c203f" providerId="ADAL" clId="{4E99356D-1F92-4D6E-8933-121F721F218A}" dt="2023-03-08T17:38:08.263" v="1335" actId="26606"/>
          <ac:spMkLst>
            <pc:docMk/>
            <pc:sldMk cId="3983303221" sldId="306"/>
            <ac:spMk id="17" creationId="{131BAD53-4E89-4F62-BBB7-26359763ED39}"/>
          </ac:spMkLst>
        </pc:spChg>
        <pc:spChg chg="add">
          <ac:chgData name="Kadari, Mr. Yuraja Sohel" userId="e679ffe7-4a8e-4e56-b620-7ee1411c203f" providerId="ADAL" clId="{4E99356D-1F92-4D6E-8933-121F721F218A}" dt="2023-03-08T17:38:08.263" v="1335" actId="26606"/>
          <ac:spMkLst>
            <pc:docMk/>
            <pc:sldMk cId="3983303221" sldId="306"/>
            <ac:spMk id="18" creationId="{62756DA2-40EB-4C6F-B962-5822FFB54FB6}"/>
          </ac:spMkLst>
        </pc:spChg>
        <pc:picChg chg="add mod ord">
          <ac:chgData name="Kadari, Mr. Yuraja Sohel" userId="e679ffe7-4a8e-4e56-b620-7ee1411c203f" providerId="ADAL" clId="{4E99356D-1F92-4D6E-8933-121F721F218A}" dt="2023-03-08T17:39:09.752" v="1353" actId="14100"/>
          <ac:picMkLst>
            <pc:docMk/>
            <pc:sldMk cId="3983303221" sldId="306"/>
            <ac:picMk id="4" creationId="{B5196F55-5BE5-F96D-380A-31ABFFB0AED4}"/>
          </ac:picMkLst>
        </pc:picChg>
      </pc:sldChg>
      <pc:sldChg chg="del">
        <pc:chgData name="Kadari, Mr. Yuraja Sohel" userId="e679ffe7-4a8e-4e56-b620-7ee1411c203f" providerId="ADAL" clId="{4E99356D-1F92-4D6E-8933-121F721F218A}" dt="2023-03-08T22:47:53.869" v="6011" actId="47"/>
        <pc:sldMkLst>
          <pc:docMk/>
          <pc:sldMk cId="1023354823" sldId="307"/>
        </pc:sldMkLst>
      </pc:sldChg>
      <pc:sldChg chg="del">
        <pc:chgData name="Kadari, Mr. Yuraja Sohel" userId="e679ffe7-4a8e-4e56-b620-7ee1411c203f" providerId="ADAL" clId="{4E99356D-1F92-4D6E-8933-121F721F218A}" dt="2023-03-08T22:41:19.037" v="5991" actId="47"/>
        <pc:sldMkLst>
          <pc:docMk/>
          <pc:sldMk cId="2321150037" sldId="309"/>
        </pc:sldMkLst>
      </pc:sldChg>
      <pc:sldChg chg="addSp delSp modSp new mod setBg setClrOvrMap">
        <pc:chgData name="Kadari, Mr. Yuraja Sohel" userId="e679ffe7-4a8e-4e56-b620-7ee1411c203f" providerId="ADAL" clId="{4E99356D-1F92-4D6E-8933-121F721F218A}" dt="2023-03-09T00:46:52.319" v="6361" actId="20577"/>
        <pc:sldMkLst>
          <pc:docMk/>
          <pc:sldMk cId="3321170582" sldId="314"/>
        </pc:sldMkLst>
        <pc:spChg chg="mod ord">
          <ac:chgData name="Kadari, Mr. Yuraja Sohel" userId="e679ffe7-4a8e-4e56-b620-7ee1411c203f" providerId="ADAL" clId="{4E99356D-1F92-4D6E-8933-121F721F218A}" dt="2023-03-08T18:15:24.968" v="1547" actId="113"/>
          <ac:spMkLst>
            <pc:docMk/>
            <pc:sldMk cId="3321170582" sldId="314"/>
            <ac:spMk id="2" creationId="{5860531E-5C44-333F-6B6C-CAB585DAE2A6}"/>
          </ac:spMkLst>
        </pc:spChg>
        <pc:spChg chg="del mod">
          <ac:chgData name="Kadari, Mr. Yuraja Sohel" userId="e679ffe7-4a8e-4e56-b620-7ee1411c203f" providerId="ADAL" clId="{4E99356D-1F92-4D6E-8933-121F721F218A}" dt="2023-03-08T17:57:59.040" v="1476" actId="22"/>
          <ac:spMkLst>
            <pc:docMk/>
            <pc:sldMk cId="3321170582" sldId="314"/>
            <ac:spMk id="3" creationId="{840F98C7-C457-5CCE-36E7-F2BF28A51347}"/>
          </ac:spMkLst>
        </pc:spChg>
        <pc:spChg chg="add mod">
          <ac:chgData name="Kadari, Mr. Yuraja Sohel" userId="e679ffe7-4a8e-4e56-b620-7ee1411c203f" providerId="ADAL" clId="{4E99356D-1F92-4D6E-8933-121F721F218A}" dt="2023-03-08T19:41:38.818" v="2955" actId="14100"/>
          <ac:spMkLst>
            <pc:docMk/>
            <pc:sldMk cId="3321170582" sldId="314"/>
            <ac:spMk id="13" creationId="{7BD37D7F-5A21-8F25-D4D6-23B4317FEAED}"/>
          </ac:spMkLst>
        </pc:spChg>
        <pc:spChg chg="add mod ord">
          <ac:chgData name="Kadari, Mr. Yuraja Sohel" userId="e679ffe7-4a8e-4e56-b620-7ee1411c203f" providerId="ADAL" clId="{4E99356D-1F92-4D6E-8933-121F721F218A}" dt="2023-03-09T00:46:52.319" v="6361" actId="20577"/>
          <ac:spMkLst>
            <pc:docMk/>
            <pc:sldMk cId="3321170582" sldId="314"/>
            <ac:spMk id="15" creationId="{E8B7255C-9EDD-7A39-F2A2-E3CB64B60A93}"/>
          </ac:spMkLst>
        </pc:spChg>
        <pc:spChg chg="add del">
          <ac:chgData name="Kadari, Mr. Yuraja Sohel" userId="e679ffe7-4a8e-4e56-b620-7ee1411c203f" providerId="ADAL" clId="{4E99356D-1F92-4D6E-8933-121F721F218A}" dt="2023-03-08T18:13:40.821" v="1518" actId="26606"/>
          <ac:spMkLst>
            <pc:docMk/>
            <pc:sldMk cId="3321170582" sldId="314"/>
            <ac:spMk id="16" creationId="{6753252F-4873-4F63-801D-CC719279A7D5}"/>
          </ac:spMkLst>
        </pc:spChg>
        <pc:spChg chg="add del">
          <ac:chgData name="Kadari, Mr. Yuraja Sohel" userId="e679ffe7-4a8e-4e56-b620-7ee1411c203f" providerId="ADAL" clId="{4E99356D-1F92-4D6E-8933-121F721F218A}" dt="2023-03-08T18:13:40.821" v="1518" actId="26606"/>
          <ac:spMkLst>
            <pc:docMk/>
            <pc:sldMk cId="3321170582" sldId="314"/>
            <ac:spMk id="18" creationId="{047C8CCB-F95D-4249-92DD-651249D3535A}"/>
          </ac:spMkLst>
        </pc:spChg>
        <pc:spChg chg="add del">
          <ac:chgData name="Kadari, Mr. Yuraja Sohel" userId="e679ffe7-4a8e-4e56-b620-7ee1411c203f" providerId="ADAL" clId="{4E99356D-1F92-4D6E-8933-121F721F218A}" dt="2023-03-08T18:13:44.542" v="1520" actId="26606"/>
          <ac:spMkLst>
            <pc:docMk/>
            <pc:sldMk cId="3321170582" sldId="314"/>
            <ac:spMk id="20" creationId="{B497CCB5-5FC2-473C-AFCC-2430CEF1DF71}"/>
          </ac:spMkLst>
        </pc:spChg>
        <pc:spChg chg="add del">
          <ac:chgData name="Kadari, Mr. Yuraja Sohel" userId="e679ffe7-4a8e-4e56-b620-7ee1411c203f" providerId="ADAL" clId="{4E99356D-1F92-4D6E-8933-121F721F218A}" dt="2023-03-08T18:13:44.542" v="1520" actId="26606"/>
          <ac:spMkLst>
            <pc:docMk/>
            <pc:sldMk cId="3321170582" sldId="314"/>
            <ac:spMk id="21" creationId="{599C8C75-BFDF-44E7-A028-EEB5EDD58817}"/>
          </ac:spMkLst>
        </pc:spChg>
        <pc:spChg chg="add del">
          <ac:chgData name="Kadari, Mr. Yuraja Sohel" userId="e679ffe7-4a8e-4e56-b620-7ee1411c203f" providerId="ADAL" clId="{4E99356D-1F92-4D6E-8933-121F721F218A}" dt="2023-03-08T18:14:17.263" v="1526" actId="26606"/>
          <ac:spMkLst>
            <pc:docMk/>
            <pc:sldMk cId="3321170582" sldId="314"/>
            <ac:spMk id="22" creationId="{56A3E26D-73B1-468C-B97B-BC1815959759}"/>
          </ac:spMkLst>
        </pc:spChg>
        <pc:spChg chg="add del">
          <ac:chgData name="Kadari, Mr. Yuraja Sohel" userId="e679ffe7-4a8e-4e56-b620-7ee1411c203f" providerId="ADAL" clId="{4E99356D-1F92-4D6E-8933-121F721F218A}" dt="2023-03-08T18:14:17.263" v="1526" actId="26606"/>
          <ac:spMkLst>
            <pc:docMk/>
            <pc:sldMk cId="3321170582" sldId="314"/>
            <ac:spMk id="23" creationId="{4E8F40FE-293C-453F-B8A6-4278993567DF}"/>
          </ac:spMkLst>
        </pc:spChg>
        <pc:spChg chg="add del">
          <ac:chgData name="Kadari, Mr. Yuraja Sohel" userId="e679ffe7-4a8e-4e56-b620-7ee1411c203f" providerId="ADAL" clId="{4E99356D-1F92-4D6E-8933-121F721F218A}" dt="2023-03-08T18:14:17.263" v="1526" actId="26606"/>
          <ac:spMkLst>
            <pc:docMk/>
            <pc:sldMk cId="3321170582" sldId="314"/>
            <ac:spMk id="24" creationId="{481EABE0-FA8E-49A5-A966-F0539111C953}"/>
          </ac:spMkLst>
        </pc:spChg>
        <pc:spChg chg="add del">
          <ac:chgData name="Kadari, Mr. Yuraja Sohel" userId="e679ffe7-4a8e-4e56-b620-7ee1411c203f" providerId="ADAL" clId="{4E99356D-1F92-4D6E-8933-121F721F218A}" dt="2023-03-08T18:14:17.253" v="1525" actId="26606"/>
          <ac:spMkLst>
            <pc:docMk/>
            <pc:sldMk cId="3321170582" sldId="314"/>
            <ac:spMk id="29" creationId="{C03DDB2E-68A6-4B69-8803-0A52B5921173}"/>
          </ac:spMkLst>
        </pc:spChg>
        <pc:spChg chg="add del">
          <ac:chgData name="Kadari, Mr. Yuraja Sohel" userId="e679ffe7-4a8e-4e56-b620-7ee1411c203f" providerId="ADAL" clId="{4E99356D-1F92-4D6E-8933-121F721F218A}" dt="2023-03-08T18:14:17.253" v="1525" actId="26606"/>
          <ac:spMkLst>
            <pc:docMk/>
            <pc:sldMk cId="3321170582" sldId="314"/>
            <ac:spMk id="31" creationId="{481EABE0-FA8E-49A5-A966-F0539111C953}"/>
          </ac:spMkLst>
        </pc:spChg>
        <pc:spChg chg="add del">
          <ac:chgData name="Kadari, Mr. Yuraja Sohel" userId="e679ffe7-4a8e-4e56-b620-7ee1411c203f" providerId="ADAL" clId="{4E99356D-1F92-4D6E-8933-121F721F218A}" dt="2023-03-08T18:14:17.253" v="1525" actId="26606"/>
          <ac:spMkLst>
            <pc:docMk/>
            <pc:sldMk cId="3321170582" sldId="314"/>
            <ac:spMk id="33" creationId="{56A3E26D-73B1-468C-B97B-BC1815959759}"/>
          </ac:spMkLst>
        </pc:spChg>
        <pc:spChg chg="add del">
          <ac:chgData name="Kadari, Mr. Yuraja Sohel" userId="e679ffe7-4a8e-4e56-b620-7ee1411c203f" providerId="ADAL" clId="{4E99356D-1F92-4D6E-8933-121F721F218A}" dt="2023-03-08T18:14:38.321" v="1532" actId="26606"/>
          <ac:spMkLst>
            <pc:docMk/>
            <pc:sldMk cId="3321170582" sldId="314"/>
            <ac:spMk id="35" creationId="{AA58F78C-27AB-465F-AA33-15E08AF267F9}"/>
          </ac:spMkLst>
        </pc:spChg>
        <pc:spChg chg="add del">
          <ac:chgData name="Kadari, Mr. Yuraja Sohel" userId="e679ffe7-4a8e-4e56-b620-7ee1411c203f" providerId="ADAL" clId="{4E99356D-1F92-4D6E-8933-121F721F218A}" dt="2023-03-08T18:14:38.321" v="1532" actId="26606"/>
          <ac:spMkLst>
            <pc:docMk/>
            <pc:sldMk cId="3321170582" sldId="314"/>
            <ac:spMk id="36" creationId="{11CA6726-6071-461E-8A94-86FD36CBFBDB}"/>
          </ac:spMkLst>
        </pc:spChg>
        <pc:spChg chg="add del">
          <ac:chgData name="Kadari, Mr. Yuraja Sohel" userId="e679ffe7-4a8e-4e56-b620-7ee1411c203f" providerId="ADAL" clId="{4E99356D-1F92-4D6E-8933-121F721F218A}" dt="2023-03-08T18:14:38.321" v="1532" actId="26606"/>
          <ac:spMkLst>
            <pc:docMk/>
            <pc:sldMk cId="3321170582" sldId="314"/>
            <ac:spMk id="37" creationId="{9073D962-D3D2-4A72-8593-65C213CBFFC3}"/>
          </ac:spMkLst>
        </pc:spChg>
        <pc:spChg chg="add del">
          <ac:chgData name="Kadari, Mr. Yuraja Sohel" userId="e679ffe7-4a8e-4e56-b620-7ee1411c203f" providerId="ADAL" clId="{4E99356D-1F92-4D6E-8933-121F721F218A}" dt="2023-03-08T18:14:38.321" v="1532" actId="26606"/>
          <ac:spMkLst>
            <pc:docMk/>
            <pc:sldMk cId="3321170582" sldId="314"/>
            <ac:spMk id="38" creationId="{2387511B-F6E1-4929-AC90-94FB8B6B0F41}"/>
          </ac:spMkLst>
        </pc:spChg>
        <pc:spChg chg="add del">
          <ac:chgData name="Kadari, Mr. Yuraja Sohel" userId="e679ffe7-4a8e-4e56-b620-7ee1411c203f" providerId="ADAL" clId="{4E99356D-1F92-4D6E-8933-121F721F218A}" dt="2023-03-08T18:14:33.031" v="1529" actId="26606"/>
          <ac:spMkLst>
            <pc:docMk/>
            <pc:sldMk cId="3321170582" sldId="314"/>
            <ac:spMk id="43" creationId="{D462EE7E-14DF-497D-AE08-F6623DB88E99}"/>
          </ac:spMkLst>
        </pc:spChg>
        <pc:spChg chg="add del">
          <ac:chgData name="Kadari, Mr. Yuraja Sohel" userId="e679ffe7-4a8e-4e56-b620-7ee1411c203f" providerId="ADAL" clId="{4E99356D-1F92-4D6E-8933-121F721F218A}" dt="2023-03-08T18:14:33.031" v="1529" actId="26606"/>
          <ac:spMkLst>
            <pc:docMk/>
            <pc:sldMk cId="3321170582" sldId="314"/>
            <ac:spMk id="45" creationId="{2FBF0AC7-1F73-4A5E-882F-8C2A41F1AEA4}"/>
          </ac:spMkLst>
        </pc:spChg>
        <pc:spChg chg="add del">
          <ac:chgData name="Kadari, Mr. Yuraja Sohel" userId="e679ffe7-4a8e-4e56-b620-7ee1411c203f" providerId="ADAL" clId="{4E99356D-1F92-4D6E-8933-121F721F218A}" dt="2023-03-08T18:14:38.309" v="1531" actId="26606"/>
          <ac:spMkLst>
            <pc:docMk/>
            <pc:sldMk cId="3321170582" sldId="314"/>
            <ac:spMk id="47" creationId="{CD2ED21F-DC95-4AD1-8327-D561F5FCA3A6}"/>
          </ac:spMkLst>
        </pc:spChg>
        <pc:spChg chg="add del">
          <ac:chgData name="Kadari, Mr. Yuraja Sohel" userId="e679ffe7-4a8e-4e56-b620-7ee1411c203f" providerId="ADAL" clId="{4E99356D-1F92-4D6E-8933-121F721F218A}" dt="2023-03-08T18:14:38.309" v="1531" actId="26606"/>
          <ac:spMkLst>
            <pc:docMk/>
            <pc:sldMk cId="3321170582" sldId="314"/>
            <ac:spMk id="48" creationId="{C991AD47-9C99-472F-BDAA-21B183F33947}"/>
          </ac:spMkLst>
        </pc:spChg>
        <pc:spChg chg="add del">
          <ac:chgData name="Kadari, Mr. Yuraja Sohel" userId="e679ffe7-4a8e-4e56-b620-7ee1411c203f" providerId="ADAL" clId="{4E99356D-1F92-4D6E-8933-121F721F218A}" dt="2023-03-08T18:14:38.309" v="1531" actId="26606"/>
          <ac:spMkLst>
            <pc:docMk/>
            <pc:sldMk cId="3321170582" sldId="314"/>
            <ac:spMk id="49" creationId="{9E706731-3860-4E73-9335-A870F6741F0B}"/>
          </ac:spMkLst>
        </pc:spChg>
        <pc:spChg chg="add">
          <ac:chgData name="Kadari, Mr. Yuraja Sohel" userId="e679ffe7-4a8e-4e56-b620-7ee1411c203f" providerId="ADAL" clId="{4E99356D-1F92-4D6E-8933-121F721F218A}" dt="2023-03-08T18:14:38.321" v="1532" actId="26606"/>
          <ac:spMkLst>
            <pc:docMk/>
            <pc:sldMk cId="3321170582" sldId="314"/>
            <ac:spMk id="51" creationId="{26FF42C2-EA15-4154-B242-E98E88CED99C}"/>
          </ac:spMkLst>
        </pc:spChg>
        <pc:spChg chg="add">
          <ac:chgData name="Kadari, Mr. Yuraja Sohel" userId="e679ffe7-4a8e-4e56-b620-7ee1411c203f" providerId="ADAL" clId="{4E99356D-1F92-4D6E-8933-121F721F218A}" dt="2023-03-08T18:14:38.321" v="1532" actId="26606"/>
          <ac:spMkLst>
            <pc:docMk/>
            <pc:sldMk cId="3321170582" sldId="314"/>
            <ac:spMk id="52" creationId="{D79DE9F7-28C4-4856-BA57-D696E124C137}"/>
          </ac:spMkLst>
        </pc:spChg>
        <pc:spChg chg="add">
          <ac:chgData name="Kadari, Mr. Yuraja Sohel" userId="e679ffe7-4a8e-4e56-b620-7ee1411c203f" providerId="ADAL" clId="{4E99356D-1F92-4D6E-8933-121F721F218A}" dt="2023-03-08T18:14:38.321" v="1532" actId="26606"/>
          <ac:spMkLst>
            <pc:docMk/>
            <pc:sldMk cId="3321170582" sldId="314"/>
            <ac:spMk id="53" creationId="{E1F9ED9C-121B-44C6-A308-5824769C40D5}"/>
          </ac:spMkLst>
        </pc:spChg>
        <pc:spChg chg="add">
          <ac:chgData name="Kadari, Mr. Yuraja Sohel" userId="e679ffe7-4a8e-4e56-b620-7ee1411c203f" providerId="ADAL" clId="{4E99356D-1F92-4D6E-8933-121F721F218A}" dt="2023-03-08T18:14:38.321" v="1532" actId="26606"/>
          <ac:spMkLst>
            <pc:docMk/>
            <pc:sldMk cId="3321170582" sldId="314"/>
            <ac:spMk id="54" creationId="{4A5F8185-F27B-4E99-A06C-007336FE3F2D}"/>
          </ac:spMkLst>
        </pc:spChg>
        <pc:picChg chg="add del mod ord">
          <ac:chgData name="Kadari, Mr. Yuraja Sohel" userId="e679ffe7-4a8e-4e56-b620-7ee1411c203f" providerId="ADAL" clId="{4E99356D-1F92-4D6E-8933-121F721F218A}" dt="2023-03-08T18:14:23.629" v="1527" actId="478"/>
          <ac:picMkLst>
            <pc:docMk/>
            <pc:sldMk cId="3321170582" sldId="314"/>
            <ac:picMk id="5" creationId="{F9256C30-9708-BC6C-E5D5-9BD57482AF52}"/>
          </ac:picMkLst>
        </pc:picChg>
        <pc:picChg chg="add mod ord">
          <ac:chgData name="Kadari, Mr. Yuraja Sohel" userId="e679ffe7-4a8e-4e56-b620-7ee1411c203f" providerId="ADAL" clId="{4E99356D-1F92-4D6E-8933-121F721F218A}" dt="2023-03-08T18:31:21.867" v="2210" actId="1076"/>
          <ac:picMkLst>
            <pc:docMk/>
            <pc:sldMk cId="3321170582" sldId="314"/>
            <ac:picMk id="7" creationId="{F1E2AEB9-2846-29A9-D528-A8C52C3650F7}"/>
          </ac:picMkLst>
        </pc:picChg>
        <pc:picChg chg="add mod ord">
          <ac:chgData name="Kadari, Mr. Yuraja Sohel" userId="e679ffe7-4a8e-4e56-b620-7ee1411c203f" providerId="ADAL" clId="{4E99356D-1F92-4D6E-8933-121F721F218A}" dt="2023-03-08T18:31:25.379" v="2212" actId="1076"/>
          <ac:picMkLst>
            <pc:docMk/>
            <pc:sldMk cId="3321170582" sldId="314"/>
            <ac:picMk id="9" creationId="{0DC29252-0CF9-EEA8-E382-E6F8356D7D36}"/>
          </ac:picMkLst>
        </pc:picChg>
        <pc:picChg chg="add mod ord">
          <ac:chgData name="Kadari, Mr. Yuraja Sohel" userId="e679ffe7-4a8e-4e56-b620-7ee1411c203f" providerId="ADAL" clId="{4E99356D-1F92-4D6E-8933-121F721F218A}" dt="2023-03-08T18:31:23.122" v="2211" actId="1076"/>
          <ac:picMkLst>
            <pc:docMk/>
            <pc:sldMk cId="3321170582" sldId="314"/>
            <ac:picMk id="11" creationId="{77AB0A29-8204-4411-79AD-394D24A5353B}"/>
          </ac:picMkLst>
        </pc:picChg>
      </pc:sldChg>
      <pc:sldChg chg="addSp delSp modSp new mod ord">
        <pc:chgData name="Kadari, Mr. Yuraja Sohel" userId="e679ffe7-4a8e-4e56-b620-7ee1411c203f" providerId="ADAL" clId="{4E99356D-1F92-4D6E-8933-121F721F218A}" dt="2023-03-08T21:17:11.724" v="5044" actId="20578"/>
        <pc:sldMkLst>
          <pc:docMk/>
          <pc:sldMk cId="2326452020" sldId="316"/>
        </pc:sldMkLst>
        <pc:spChg chg="mod">
          <ac:chgData name="Kadari, Mr. Yuraja Sohel" userId="e679ffe7-4a8e-4e56-b620-7ee1411c203f" providerId="ADAL" clId="{4E99356D-1F92-4D6E-8933-121F721F218A}" dt="2023-03-08T19:40:21.127" v="2945" actId="1076"/>
          <ac:spMkLst>
            <pc:docMk/>
            <pc:sldMk cId="2326452020" sldId="316"/>
            <ac:spMk id="2" creationId="{34D8E65F-3E41-2110-0D73-92903E839B3F}"/>
          </ac:spMkLst>
        </pc:spChg>
        <pc:spChg chg="mod">
          <ac:chgData name="Kadari, Mr. Yuraja Sohel" userId="e679ffe7-4a8e-4e56-b620-7ee1411c203f" providerId="ADAL" clId="{4E99356D-1F92-4D6E-8933-121F721F218A}" dt="2023-03-08T19:40:29.118" v="2946" actId="1076"/>
          <ac:spMkLst>
            <pc:docMk/>
            <pc:sldMk cId="2326452020" sldId="316"/>
            <ac:spMk id="3" creationId="{C7682CBD-5DC3-476D-DC85-40F9A4E121A5}"/>
          </ac:spMkLst>
        </pc:spChg>
        <pc:spChg chg="add del mod">
          <ac:chgData name="Kadari, Mr. Yuraja Sohel" userId="e679ffe7-4a8e-4e56-b620-7ee1411c203f" providerId="ADAL" clId="{4E99356D-1F92-4D6E-8933-121F721F218A}" dt="2023-03-08T19:41:50.985" v="2959" actId="1076"/>
          <ac:spMkLst>
            <pc:docMk/>
            <pc:sldMk cId="2326452020" sldId="316"/>
            <ac:spMk id="4" creationId="{38641FE1-55F4-0436-DAA6-9BD0C9807E28}"/>
          </ac:spMkLst>
        </pc:spChg>
        <pc:spChg chg="add del mod">
          <ac:chgData name="Kadari, Mr. Yuraja Sohel" userId="e679ffe7-4a8e-4e56-b620-7ee1411c203f" providerId="ADAL" clId="{4E99356D-1F92-4D6E-8933-121F721F218A}" dt="2023-03-08T19:41:51.352" v="2960" actId="47"/>
          <ac:spMkLst>
            <pc:docMk/>
            <pc:sldMk cId="2326452020" sldId="316"/>
            <ac:spMk id="10" creationId="{8099F456-4888-A558-4140-9F7DDC929C95}"/>
          </ac:spMkLst>
        </pc:spChg>
        <pc:spChg chg="add mod">
          <ac:chgData name="Kadari, Mr. Yuraja Sohel" userId="e679ffe7-4a8e-4e56-b620-7ee1411c203f" providerId="ADAL" clId="{4E99356D-1F92-4D6E-8933-121F721F218A}" dt="2023-03-08T19:42:02.959" v="2962" actId="1076"/>
          <ac:spMkLst>
            <pc:docMk/>
            <pc:sldMk cId="2326452020" sldId="316"/>
            <ac:spMk id="11" creationId="{0A633AD9-D864-ED52-8418-F3D6F37F1914}"/>
          </ac:spMkLst>
        </pc:spChg>
        <pc:picChg chg="add mod modCrop">
          <ac:chgData name="Kadari, Mr. Yuraja Sohel" userId="e679ffe7-4a8e-4e56-b620-7ee1411c203f" providerId="ADAL" clId="{4E99356D-1F92-4D6E-8933-121F721F218A}" dt="2023-03-08T19:39:48.599" v="2936" actId="14100"/>
          <ac:picMkLst>
            <pc:docMk/>
            <pc:sldMk cId="2326452020" sldId="316"/>
            <ac:picMk id="7" creationId="{11EBEA07-896E-C46C-B2CF-954422214587}"/>
          </ac:picMkLst>
        </pc:picChg>
        <pc:picChg chg="add mod">
          <ac:chgData name="Kadari, Mr. Yuraja Sohel" userId="e679ffe7-4a8e-4e56-b620-7ee1411c203f" providerId="ADAL" clId="{4E99356D-1F92-4D6E-8933-121F721F218A}" dt="2023-03-08T19:39:57.126" v="2937" actId="14100"/>
          <ac:picMkLst>
            <pc:docMk/>
            <pc:sldMk cId="2326452020" sldId="316"/>
            <ac:picMk id="9" creationId="{2DA6EA90-BB6A-B6E5-35EB-E51A160FAFDA}"/>
          </ac:picMkLst>
        </pc:picChg>
      </pc:sldChg>
      <pc:sldChg chg="delSp mod">
        <pc:chgData name="Kadari, Mr. Yuraja Sohel" userId="e679ffe7-4a8e-4e56-b620-7ee1411c203f" providerId="ADAL" clId="{4E99356D-1F92-4D6E-8933-121F721F218A}" dt="2023-03-08T18:47:45.711" v="2251" actId="478"/>
        <pc:sldMkLst>
          <pc:docMk/>
          <pc:sldMk cId="1242289728" sldId="318"/>
        </pc:sldMkLst>
        <pc:spChg chg="del">
          <ac:chgData name="Kadari, Mr. Yuraja Sohel" userId="e679ffe7-4a8e-4e56-b620-7ee1411c203f" providerId="ADAL" clId="{4E99356D-1F92-4D6E-8933-121F721F218A}" dt="2023-03-08T18:47:38.539" v="2250" actId="478"/>
          <ac:spMkLst>
            <pc:docMk/>
            <pc:sldMk cId="1242289728" sldId="318"/>
            <ac:spMk id="2" creationId="{124D00FD-3F37-18C9-45F2-FBCF2F73F0FF}"/>
          </ac:spMkLst>
        </pc:spChg>
        <pc:spChg chg="del">
          <ac:chgData name="Kadari, Mr. Yuraja Sohel" userId="e679ffe7-4a8e-4e56-b620-7ee1411c203f" providerId="ADAL" clId="{4E99356D-1F92-4D6E-8933-121F721F218A}" dt="2023-03-08T18:47:45.711" v="2251" actId="478"/>
          <ac:spMkLst>
            <pc:docMk/>
            <pc:sldMk cId="1242289728" sldId="318"/>
            <ac:spMk id="3" creationId="{8321B03E-02C8-6A25-A4EB-6A881A04C475}"/>
          </ac:spMkLst>
        </pc:spChg>
      </pc:sldChg>
      <pc:sldChg chg="addSp delSp modSp new mod setBg">
        <pc:chgData name="Kadari, Mr. Yuraja Sohel" userId="e679ffe7-4a8e-4e56-b620-7ee1411c203f" providerId="ADAL" clId="{4E99356D-1F92-4D6E-8933-121F721F218A}" dt="2023-03-09T00:51:10.416" v="6366" actId="20577"/>
        <pc:sldMkLst>
          <pc:docMk/>
          <pc:sldMk cId="2634027742" sldId="322"/>
        </pc:sldMkLst>
        <pc:spChg chg="mod">
          <ac:chgData name="Kadari, Mr. Yuraja Sohel" userId="e679ffe7-4a8e-4e56-b620-7ee1411c203f" providerId="ADAL" clId="{4E99356D-1F92-4D6E-8933-121F721F218A}" dt="2023-03-09T00:51:10.416" v="6366" actId="20577"/>
          <ac:spMkLst>
            <pc:docMk/>
            <pc:sldMk cId="2634027742" sldId="322"/>
            <ac:spMk id="2" creationId="{F25745B3-CAC8-F8A0-00B8-657B9ACCD627}"/>
          </ac:spMkLst>
        </pc:spChg>
        <pc:spChg chg="add del mod">
          <ac:chgData name="Kadari, Mr. Yuraja Sohel" userId="e679ffe7-4a8e-4e56-b620-7ee1411c203f" providerId="ADAL" clId="{4E99356D-1F92-4D6E-8933-121F721F218A}" dt="2023-03-08T20:08:09.296" v="3374" actId="1076"/>
          <ac:spMkLst>
            <pc:docMk/>
            <pc:sldMk cId="2634027742" sldId="322"/>
            <ac:spMk id="3" creationId="{C17471C3-111B-35E6-D517-FA44EF231392}"/>
          </ac:spMkLst>
        </pc:spChg>
        <pc:spChg chg="mod ord">
          <ac:chgData name="Kadari, Mr. Yuraja Sohel" userId="e679ffe7-4a8e-4e56-b620-7ee1411c203f" providerId="ADAL" clId="{4E99356D-1F92-4D6E-8933-121F721F218A}" dt="2023-03-08T19:58:55.429" v="2987" actId="26606"/>
          <ac:spMkLst>
            <pc:docMk/>
            <pc:sldMk cId="2634027742" sldId="322"/>
            <ac:spMk id="4" creationId="{E5FA1EFD-F6F5-F61E-EEA1-DA0803701D9C}"/>
          </ac:spMkLst>
        </pc:spChg>
        <pc:spChg chg="add del mod">
          <ac:chgData name="Kadari, Mr. Yuraja Sohel" userId="e679ffe7-4a8e-4e56-b620-7ee1411c203f" providerId="ADAL" clId="{4E99356D-1F92-4D6E-8933-121F721F218A}" dt="2023-03-08T20:02:20.504" v="3009"/>
          <ac:spMkLst>
            <pc:docMk/>
            <pc:sldMk cId="2634027742" sldId="322"/>
            <ac:spMk id="9" creationId="{6F1A17E0-BFB2-2DB4-8727-3E43B88A9238}"/>
          </ac:spMkLst>
        </pc:spChg>
        <pc:spChg chg="add mod">
          <ac:chgData name="Kadari, Mr. Yuraja Sohel" userId="e679ffe7-4a8e-4e56-b620-7ee1411c203f" providerId="ADAL" clId="{4E99356D-1F92-4D6E-8933-121F721F218A}" dt="2023-03-08T20:09:17.456" v="3379" actId="1076"/>
          <ac:spMkLst>
            <pc:docMk/>
            <pc:sldMk cId="2634027742" sldId="322"/>
            <ac:spMk id="10" creationId="{3823D11E-C2E6-E6E8-3F2F-B744D30D2464}"/>
          </ac:spMkLst>
        </pc:spChg>
        <pc:spChg chg="add del">
          <ac:chgData name="Kadari, Mr. Yuraja Sohel" userId="e679ffe7-4a8e-4e56-b620-7ee1411c203f" providerId="ADAL" clId="{4E99356D-1F92-4D6E-8933-121F721F218A}" dt="2023-03-08T19:58:55.429" v="2987" actId="26606"/>
          <ac:spMkLst>
            <pc:docMk/>
            <pc:sldMk cId="2634027742" sldId="322"/>
            <ac:spMk id="11" creationId="{A4AC5506-6312-4701-8D3C-40187889A947}"/>
          </ac:spMkLst>
        </pc:spChg>
        <pc:picChg chg="add del mod">
          <ac:chgData name="Kadari, Mr. Yuraja Sohel" userId="e679ffe7-4a8e-4e56-b620-7ee1411c203f" providerId="ADAL" clId="{4E99356D-1F92-4D6E-8933-121F721F218A}" dt="2023-03-08T20:00:50.891" v="2991" actId="478"/>
          <ac:picMkLst>
            <pc:docMk/>
            <pc:sldMk cId="2634027742" sldId="322"/>
            <ac:picMk id="6" creationId="{0D01E6E9-CF69-B68F-E425-E0B3CC92BCC8}"/>
          </ac:picMkLst>
        </pc:picChg>
        <pc:picChg chg="add mod">
          <ac:chgData name="Kadari, Mr. Yuraja Sohel" userId="e679ffe7-4a8e-4e56-b620-7ee1411c203f" providerId="ADAL" clId="{4E99356D-1F92-4D6E-8933-121F721F218A}" dt="2023-03-08T20:08:21.164" v="3377" actId="14100"/>
          <ac:picMkLst>
            <pc:docMk/>
            <pc:sldMk cId="2634027742" sldId="322"/>
            <ac:picMk id="8" creationId="{B90839C1-9296-B15C-2093-5C337C59A7A3}"/>
          </ac:picMkLst>
        </pc:picChg>
      </pc:sldChg>
      <pc:sldChg chg="addSp delSp modSp new mod">
        <pc:chgData name="Kadari, Mr. Yuraja Sohel" userId="e679ffe7-4a8e-4e56-b620-7ee1411c203f" providerId="ADAL" clId="{4E99356D-1F92-4D6E-8933-121F721F218A}" dt="2023-03-08T20:42:32.598" v="4135"/>
        <pc:sldMkLst>
          <pc:docMk/>
          <pc:sldMk cId="3446226999" sldId="323"/>
        </pc:sldMkLst>
        <pc:spChg chg="mod">
          <ac:chgData name="Kadari, Mr. Yuraja Sohel" userId="e679ffe7-4a8e-4e56-b620-7ee1411c203f" providerId="ADAL" clId="{4E99356D-1F92-4D6E-8933-121F721F218A}" dt="2023-03-08T20:31:00.833" v="3546" actId="20577"/>
          <ac:spMkLst>
            <pc:docMk/>
            <pc:sldMk cId="3446226999" sldId="323"/>
            <ac:spMk id="2" creationId="{5D49FD92-0DEF-05E4-1ABF-421F8292F0A7}"/>
          </ac:spMkLst>
        </pc:spChg>
        <pc:spChg chg="mod">
          <ac:chgData name="Kadari, Mr. Yuraja Sohel" userId="e679ffe7-4a8e-4e56-b620-7ee1411c203f" providerId="ADAL" clId="{4E99356D-1F92-4D6E-8933-121F721F218A}" dt="2023-03-08T20:42:00.404" v="4132" actId="123"/>
          <ac:spMkLst>
            <pc:docMk/>
            <pc:sldMk cId="3446226999" sldId="323"/>
            <ac:spMk id="3" creationId="{4C26ABB2-598A-ED21-5BCA-DC181B5D16BD}"/>
          </ac:spMkLst>
        </pc:spChg>
        <pc:spChg chg="add del">
          <ac:chgData name="Kadari, Mr. Yuraja Sohel" userId="e679ffe7-4a8e-4e56-b620-7ee1411c203f" providerId="ADAL" clId="{4E99356D-1F92-4D6E-8933-121F721F218A}" dt="2023-03-08T20:42:20.656" v="4134" actId="22"/>
          <ac:spMkLst>
            <pc:docMk/>
            <pc:sldMk cId="3446226999" sldId="323"/>
            <ac:spMk id="8" creationId="{42BAA034-EDC0-B021-5F8F-271B1B3FCDF1}"/>
          </ac:spMkLst>
        </pc:spChg>
        <pc:spChg chg="add mod">
          <ac:chgData name="Kadari, Mr. Yuraja Sohel" userId="e679ffe7-4a8e-4e56-b620-7ee1411c203f" providerId="ADAL" clId="{4E99356D-1F92-4D6E-8933-121F721F218A}" dt="2023-03-08T20:42:32.598" v="4135"/>
          <ac:spMkLst>
            <pc:docMk/>
            <pc:sldMk cId="3446226999" sldId="323"/>
            <ac:spMk id="9" creationId="{EA472BE6-F260-9A58-1A30-08CA14A5AAB9}"/>
          </ac:spMkLst>
        </pc:spChg>
        <pc:picChg chg="add mod">
          <ac:chgData name="Kadari, Mr. Yuraja Sohel" userId="e679ffe7-4a8e-4e56-b620-7ee1411c203f" providerId="ADAL" clId="{4E99356D-1F92-4D6E-8933-121F721F218A}" dt="2023-03-08T20:41:55.966" v="4131" actId="14100"/>
          <ac:picMkLst>
            <pc:docMk/>
            <pc:sldMk cId="3446226999" sldId="323"/>
            <ac:picMk id="6" creationId="{50193AFB-B58C-8D66-94D1-C3F9D1CB990F}"/>
          </ac:picMkLst>
        </pc:picChg>
      </pc:sldChg>
      <pc:sldChg chg="modSp mod">
        <pc:chgData name="Kadari, Mr. Yuraja Sohel" userId="e679ffe7-4a8e-4e56-b620-7ee1411c203f" providerId="ADAL" clId="{4E99356D-1F92-4D6E-8933-121F721F218A}" dt="2023-03-08T23:20:54.124" v="6314" actId="20577"/>
        <pc:sldMkLst>
          <pc:docMk/>
          <pc:sldMk cId="2451740081" sldId="324"/>
        </pc:sldMkLst>
        <pc:spChg chg="mod">
          <ac:chgData name="Kadari, Mr. Yuraja Sohel" userId="e679ffe7-4a8e-4e56-b620-7ee1411c203f" providerId="ADAL" clId="{4E99356D-1F92-4D6E-8933-121F721F218A}" dt="2023-03-08T23:20:54.124" v="6314" actId="20577"/>
          <ac:spMkLst>
            <pc:docMk/>
            <pc:sldMk cId="2451740081" sldId="324"/>
            <ac:spMk id="2" creationId="{2D6A910F-BBF3-DA0C-501C-BC3BB348759E}"/>
          </ac:spMkLst>
        </pc:spChg>
      </pc:sldChg>
      <pc:sldChg chg="addSp modSp new mod">
        <pc:chgData name="Kadari, Mr. Yuraja Sohel" userId="e679ffe7-4a8e-4e56-b620-7ee1411c203f" providerId="ADAL" clId="{4E99356D-1F92-4D6E-8933-121F721F218A}" dt="2023-03-08T21:09:27.264" v="4718" actId="14100"/>
        <pc:sldMkLst>
          <pc:docMk/>
          <pc:sldMk cId="3698816628" sldId="325"/>
        </pc:sldMkLst>
        <pc:spChg chg="mod">
          <ac:chgData name="Kadari, Mr. Yuraja Sohel" userId="e679ffe7-4a8e-4e56-b620-7ee1411c203f" providerId="ADAL" clId="{4E99356D-1F92-4D6E-8933-121F721F218A}" dt="2023-03-08T20:52:38.690" v="4262" actId="404"/>
          <ac:spMkLst>
            <pc:docMk/>
            <pc:sldMk cId="3698816628" sldId="325"/>
            <ac:spMk id="2" creationId="{2FAC9D6E-B07E-80D5-B27B-BE042680694B}"/>
          </ac:spMkLst>
        </pc:spChg>
        <pc:spChg chg="mod">
          <ac:chgData name="Kadari, Mr. Yuraja Sohel" userId="e679ffe7-4a8e-4e56-b620-7ee1411c203f" providerId="ADAL" clId="{4E99356D-1F92-4D6E-8933-121F721F218A}" dt="2023-03-08T21:09:07.239" v="4716" actId="1076"/>
          <ac:spMkLst>
            <pc:docMk/>
            <pc:sldMk cId="3698816628" sldId="325"/>
            <ac:spMk id="3" creationId="{B73038FA-B1DC-4A67-234B-299C909AE5D3}"/>
          </ac:spMkLst>
        </pc:spChg>
        <pc:spChg chg="add mod">
          <ac:chgData name="Kadari, Mr. Yuraja Sohel" userId="e679ffe7-4a8e-4e56-b620-7ee1411c203f" providerId="ADAL" clId="{4E99356D-1F92-4D6E-8933-121F721F218A}" dt="2023-03-08T21:01:31.223" v="4277"/>
          <ac:spMkLst>
            <pc:docMk/>
            <pc:sldMk cId="3698816628" sldId="325"/>
            <ac:spMk id="7" creationId="{2C1BBB11-EDDB-25BD-A122-C944AC5E4156}"/>
          </ac:spMkLst>
        </pc:spChg>
        <pc:picChg chg="add mod">
          <ac:chgData name="Kadari, Mr. Yuraja Sohel" userId="e679ffe7-4a8e-4e56-b620-7ee1411c203f" providerId="ADAL" clId="{4E99356D-1F92-4D6E-8933-121F721F218A}" dt="2023-03-08T21:09:27.264" v="4718" actId="14100"/>
          <ac:picMkLst>
            <pc:docMk/>
            <pc:sldMk cId="3698816628" sldId="325"/>
            <ac:picMk id="6" creationId="{16C36BF1-1AF7-5F03-4EE3-39360DEC37DE}"/>
          </ac:picMkLst>
        </pc:picChg>
      </pc:sldChg>
      <pc:sldChg chg="addSp delSp modSp new mod setBg">
        <pc:chgData name="Kadari, Mr. Yuraja Sohel" userId="e679ffe7-4a8e-4e56-b620-7ee1411c203f" providerId="ADAL" clId="{4E99356D-1F92-4D6E-8933-121F721F218A}" dt="2023-03-08T22:30:39.959" v="5872" actId="123"/>
        <pc:sldMkLst>
          <pc:docMk/>
          <pc:sldMk cId="211011801" sldId="326"/>
        </pc:sldMkLst>
        <pc:spChg chg="mod">
          <ac:chgData name="Kadari, Mr. Yuraja Sohel" userId="e679ffe7-4a8e-4e56-b620-7ee1411c203f" providerId="ADAL" clId="{4E99356D-1F92-4D6E-8933-121F721F218A}" dt="2023-03-08T22:19:56.024" v="5351" actId="1076"/>
          <ac:spMkLst>
            <pc:docMk/>
            <pc:sldMk cId="211011801" sldId="326"/>
            <ac:spMk id="2" creationId="{EB029394-0E5D-7DEE-FAEF-686C601FC5B8}"/>
          </ac:spMkLst>
        </pc:spChg>
        <pc:spChg chg="del mod">
          <ac:chgData name="Kadari, Mr. Yuraja Sohel" userId="e679ffe7-4a8e-4e56-b620-7ee1411c203f" providerId="ADAL" clId="{4E99356D-1F92-4D6E-8933-121F721F218A}" dt="2023-03-08T22:12:58.683" v="5081" actId="478"/>
          <ac:spMkLst>
            <pc:docMk/>
            <pc:sldMk cId="211011801" sldId="326"/>
            <ac:spMk id="3" creationId="{9BE9A565-AC9F-F51B-8BA2-16877E46A93C}"/>
          </ac:spMkLst>
        </pc:spChg>
        <pc:spChg chg="mod ord">
          <ac:chgData name="Kadari, Mr. Yuraja Sohel" userId="e679ffe7-4a8e-4e56-b620-7ee1411c203f" providerId="ADAL" clId="{4E99356D-1F92-4D6E-8933-121F721F218A}" dt="2023-03-08T22:14:09.979" v="5091" actId="26606"/>
          <ac:spMkLst>
            <pc:docMk/>
            <pc:sldMk cId="211011801" sldId="326"/>
            <ac:spMk id="4" creationId="{5DECB60C-90C7-D5D0-A54D-852C7A6E2F61}"/>
          </ac:spMkLst>
        </pc:spChg>
        <pc:spChg chg="add del mod">
          <ac:chgData name="Kadari, Mr. Yuraja Sohel" userId="e679ffe7-4a8e-4e56-b620-7ee1411c203f" providerId="ADAL" clId="{4E99356D-1F92-4D6E-8933-121F721F218A}" dt="2023-03-08T22:14:18.142" v="5092" actId="478"/>
          <ac:spMkLst>
            <pc:docMk/>
            <pc:sldMk cId="211011801" sldId="326"/>
            <ac:spMk id="5" creationId="{E892077F-2A92-9F01-2ABB-840450D08310}"/>
          </ac:spMkLst>
        </pc:spChg>
        <pc:spChg chg="add mod">
          <ac:chgData name="Kadari, Mr. Yuraja Sohel" userId="e679ffe7-4a8e-4e56-b620-7ee1411c203f" providerId="ADAL" clId="{4E99356D-1F92-4D6E-8933-121F721F218A}" dt="2023-03-08T22:14:28.573" v="5093"/>
          <ac:spMkLst>
            <pc:docMk/>
            <pc:sldMk cId="211011801" sldId="326"/>
            <ac:spMk id="11" creationId="{7082E0B1-0CCF-58D0-2463-945F6F7FED58}"/>
          </ac:spMkLst>
        </pc:spChg>
        <pc:spChg chg="add mod">
          <ac:chgData name="Kadari, Mr. Yuraja Sohel" userId="e679ffe7-4a8e-4e56-b620-7ee1411c203f" providerId="ADAL" clId="{4E99356D-1F92-4D6E-8933-121F721F218A}" dt="2023-03-08T22:20:23.485" v="5354" actId="123"/>
          <ac:spMkLst>
            <pc:docMk/>
            <pc:sldMk cId="211011801" sldId="326"/>
            <ac:spMk id="12" creationId="{2FC57795-4E64-91AF-AA22-C6536DCCA289}"/>
          </ac:spMkLst>
        </pc:spChg>
        <pc:spChg chg="add mod">
          <ac:chgData name="Kadari, Mr. Yuraja Sohel" userId="e679ffe7-4a8e-4e56-b620-7ee1411c203f" providerId="ADAL" clId="{4E99356D-1F92-4D6E-8933-121F721F218A}" dt="2023-03-08T22:30:39.959" v="5872" actId="123"/>
          <ac:spMkLst>
            <pc:docMk/>
            <pc:sldMk cId="211011801" sldId="326"/>
            <ac:spMk id="13" creationId="{BEAD6F6D-DCD3-4C27-F872-7536E3A6A6B3}"/>
          </ac:spMkLst>
        </pc:spChg>
        <pc:spChg chg="add">
          <ac:chgData name="Kadari, Mr. Yuraja Sohel" userId="e679ffe7-4a8e-4e56-b620-7ee1411c203f" providerId="ADAL" clId="{4E99356D-1F92-4D6E-8933-121F721F218A}" dt="2023-03-08T22:14:09.979" v="5091" actId="26606"/>
          <ac:spMkLst>
            <pc:docMk/>
            <pc:sldMk cId="211011801" sldId="326"/>
            <ac:spMk id="15" creationId="{8761DDFE-071F-4200-B0AA-394476C2D2D6}"/>
          </ac:spMkLst>
        </pc:spChg>
        <pc:picChg chg="add mod ord">
          <ac:chgData name="Kadari, Mr. Yuraja Sohel" userId="e679ffe7-4a8e-4e56-b620-7ee1411c203f" providerId="ADAL" clId="{4E99356D-1F92-4D6E-8933-121F721F218A}" dt="2023-03-08T22:22:20.040" v="5492" actId="14100"/>
          <ac:picMkLst>
            <pc:docMk/>
            <pc:sldMk cId="211011801" sldId="326"/>
            <ac:picMk id="6" creationId="{4C782938-A4CA-6B81-BFDE-9E601A515C2F}"/>
          </ac:picMkLst>
        </pc:picChg>
        <pc:picChg chg="add del mod">
          <ac:chgData name="Kadari, Mr. Yuraja Sohel" userId="e679ffe7-4a8e-4e56-b620-7ee1411c203f" providerId="ADAL" clId="{4E99356D-1F92-4D6E-8933-121F721F218A}" dt="2023-03-08T22:13:49.041" v="5085" actId="478"/>
          <ac:picMkLst>
            <pc:docMk/>
            <pc:sldMk cId="211011801" sldId="326"/>
            <ac:picMk id="8" creationId="{0FB28809-AD59-8C2F-CB6F-FE8937ADBA01}"/>
          </ac:picMkLst>
        </pc:picChg>
        <pc:picChg chg="add mod">
          <ac:chgData name="Kadari, Mr. Yuraja Sohel" userId="e679ffe7-4a8e-4e56-b620-7ee1411c203f" providerId="ADAL" clId="{4E99356D-1F92-4D6E-8933-121F721F218A}" dt="2023-03-08T22:17:58.720" v="5329" actId="1076"/>
          <ac:picMkLst>
            <pc:docMk/>
            <pc:sldMk cId="211011801" sldId="326"/>
            <ac:picMk id="10" creationId="{BE6FC2D1-B835-1CF2-2810-8CC7B8A12747}"/>
          </ac:picMkLst>
        </pc:picChg>
      </pc:sldChg>
      <pc:sldChg chg="addSp delSp modSp new mod">
        <pc:chgData name="Kadari, Mr. Yuraja Sohel" userId="e679ffe7-4a8e-4e56-b620-7ee1411c203f" providerId="ADAL" clId="{4E99356D-1F92-4D6E-8933-121F721F218A}" dt="2023-03-08T22:30:35.740" v="5871" actId="123"/>
        <pc:sldMkLst>
          <pc:docMk/>
          <pc:sldMk cId="900988194" sldId="327"/>
        </pc:sldMkLst>
        <pc:spChg chg="mod">
          <ac:chgData name="Kadari, Mr. Yuraja Sohel" userId="e679ffe7-4a8e-4e56-b620-7ee1411c203f" providerId="ADAL" clId="{4E99356D-1F92-4D6E-8933-121F721F218A}" dt="2023-03-08T21:13:25.911" v="4866" actId="14100"/>
          <ac:spMkLst>
            <pc:docMk/>
            <pc:sldMk cId="900988194" sldId="327"/>
            <ac:spMk id="2" creationId="{12F00E38-AA3A-7597-53E3-13A9D1348197}"/>
          </ac:spMkLst>
        </pc:spChg>
        <pc:spChg chg="mod">
          <ac:chgData name="Kadari, Mr. Yuraja Sohel" userId="e679ffe7-4a8e-4e56-b620-7ee1411c203f" providerId="ADAL" clId="{4E99356D-1F92-4D6E-8933-121F721F218A}" dt="2023-03-08T22:30:35.740" v="5871" actId="123"/>
          <ac:spMkLst>
            <pc:docMk/>
            <pc:sldMk cId="900988194" sldId="327"/>
            <ac:spMk id="3" creationId="{0C6502C9-5BD3-4A01-DA92-515D8AFF5D2B}"/>
          </ac:spMkLst>
        </pc:spChg>
        <pc:spChg chg="add mod">
          <ac:chgData name="Kadari, Mr. Yuraja Sohel" userId="e679ffe7-4a8e-4e56-b620-7ee1411c203f" providerId="ADAL" clId="{4E99356D-1F92-4D6E-8933-121F721F218A}" dt="2023-03-08T21:17:49.637" v="5046"/>
          <ac:spMkLst>
            <pc:docMk/>
            <pc:sldMk cId="900988194" sldId="327"/>
            <ac:spMk id="5" creationId="{411D3229-B3C8-D3F2-DBBD-705622DE6451}"/>
          </ac:spMkLst>
        </pc:spChg>
        <pc:picChg chg="add del mod">
          <ac:chgData name="Kadari, Mr. Yuraja Sohel" userId="e679ffe7-4a8e-4e56-b620-7ee1411c203f" providerId="ADAL" clId="{4E99356D-1F92-4D6E-8933-121F721F218A}" dt="2023-03-08T21:52:43.261" v="5060" actId="478"/>
          <ac:picMkLst>
            <pc:docMk/>
            <pc:sldMk cId="900988194" sldId="327"/>
            <ac:picMk id="7" creationId="{8DFA3176-25EE-0C6E-BD86-85B465D356D2}"/>
          </ac:picMkLst>
        </pc:picChg>
        <pc:picChg chg="add mod">
          <ac:chgData name="Kadari, Mr. Yuraja Sohel" userId="e679ffe7-4a8e-4e56-b620-7ee1411c203f" providerId="ADAL" clId="{4E99356D-1F92-4D6E-8933-121F721F218A}" dt="2023-03-08T21:57:49.428" v="5065" actId="1076"/>
          <ac:picMkLst>
            <pc:docMk/>
            <pc:sldMk cId="900988194" sldId="327"/>
            <ac:picMk id="11" creationId="{81EE7D11-45A2-7274-046E-E0768FFF5FE0}"/>
          </ac:picMkLst>
        </pc:picChg>
      </pc:sldChg>
      <pc:sldChg chg="addSp modSp new del mod">
        <pc:chgData name="Kadari, Mr. Yuraja Sohel" userId="e679ffe7-4a8e-4e56-b620-7ee1411c203f" providerId="ADAL" clId="{4E99356D-1F92-4D6E-8933-121F721F218A}" dt="2023-03-08T21:58:29.448" v="5066" actId="47"/>
        <pc:sldMkLst>
          <pc:docMk/>
          <pc:sldMk cId="3673793434" sldId="328"/>
        </pc:sldMkLst>
        <pc:spChg chg="mod">
          <ac:chgData name="Kadari, Mr. Yuraja Sohel" userId="e679ffe7-4a8e-4e56-b620-7ee1411c203f" providerId="ADAL" clId="{4E99356D-1F92-4D6E-8933-121F721F218A}" dt="2023-03-08T21:14:26.521" v="4936" actId="14100"/>
          <ac:spMkLst>
            <pc:docMk/>
            <pc:sldMk cId="3673793434" sldId="328"/>
            <ac:spMk id="2" creationId="{E6A5D598-05AF-5993-6E79-CE8E4DBB0DB3}"/>
          </ac:spMkLst>
        </pc:spChg>
        <pc:spChg chg="mod">
          <ac:chgData name="Kadari, Mr. Yuraja Sohel" userId="e679ffe7-4a8e-4e56-b620-7ee1411c203f" providerId="ADAL" clId="{4E99356D-1F92-4D6E-8933-121F721F218A}" dt="2023-03-08T21:14:34.630" v="4939" actId="14100"/>
          <ac:spMkLst>
            <pc:docMk/>
            <pc:sldMk cId="3673793434" sldId="328"/>
            <ac:spMk id="3" creationId="{950D2DA3-5AF6-B876-6399-9BF7CEB81669}"/>
          </ac:spMkLst>
        </pc:spChg>
        <pc:spChg chg="add mod">
          <ac:chgData name="Kadari, Mr. Yuraja Sohel" userId="e679ffe7-4a8e-4e56-b620-7ee1411c203f" providerId="ADAL" clId="{4E99356D-1F92-4D6E-8933-121F721F218A}" dt="2023-03-08T21:17:55.169" v="5047"/>
          <ac:spMkLst>
            <pc:docMk/>
            <pc:sldMk cId="3673793434" sldId="328"/>
            <ac:spMk id="5" creationId="{BB21AD25-9122-BC6A-ED72-471FAD0D6D8A}"/>
          </ac:spMkLst>
        </pc:spChg>
      </pc:sldChg>
      <pc:sldChg chg="addSp modSp new mod">
        <pc:chgData name="Kadari, Mr. Yuraja Sohel" userId="e679ffe7-4a8e-4e56-b620-7ee1411c203f" providerId="ADAL" clId="{4E99356D-1F92-4D6E-8933-121F721F218A}" dt="2023-03-08T22:52:18.124" v="6283" actId="123"/>
        <pc:sldMkLst>
          <pc:docMk/>
          <pc:sldMk cId="2773960139" sldId="329"/>
        </pc:sldMkLst>
        <pc:spChg chg="mod">
          <ac:chgData name="Kadari, Mr. Yuraja Sohel" userId="e679ffe7-4a8e-4e56-b620-7ee1411c203f" providerId="ADAL" clId="{4E99356D-1F92-4D6E-8933-121F721F218A}" dt="2023-03-08T21:16:27.575" v="5041" actId="14100"/>
          <ac:spMkLst>
            <pc:docMk/>
            <pc:sldMk cId="2773960139" sldId="329"/>
            <ac:spMk id="2" creationId="{1159E319-3B6A-A6F7-BE17-35B10A8B24BF}"/>
          </ac:spMkLst>
        </pc:spChg>
        <pc:spChg chg="mod">
          <ac:chgData name="Kadari, Mr. Yuraja Sohel" userId="e679ffe7-4a8e-4e56-b620-7ee1411c203f" providerId="ADAL" clId="{4E99356D-1F92-4D6E-8933-121F721F218A}" dt="2023-03-08T22:52:18.124" v="6283" actId="123"/>
          <ac:spMkLst>
            <pc:docMk/>
            <pc:sldMk cId="2773960139" sldId="329"/>
            <ac:spMk id="3" creationId="{95C0F7E9-0EC9-0DCE-18E7-E087A9D01B92}"/>
          </ac:spMkLst>
        </pc:spChg>
        <pc:spChg chg="add mod">
          <ac:chgData name="Kadari, Mr. Yuraja Sohel" userId="e679ffe7-4a8e-4e56-b620-7ee1411c203f" providerId="ADAL" clId="{4E99356D-1F92-4D6E-8933-121F721F218A}" dt="2023-03-08T21:17:57.450" v="5048"/>
          <ac:spMkLst>
            <pc:docMk/>
            <pc:sldMk cId="2773960139" sldId="329"/>
            <ac:spMk id="5" creationId="{90F70F11-4E36-E048-C206-5FFB4987B3A1}"/>
          </ac:spMkLst>
        </pc:spChg>
        <pc:picChg chg="add mod">
          <ac:chgData name="Kadari, Mr. Yuraja Sohel" userId="e679ffe7-4a8e-4e56-b620-7ee1411c203f" providerId="ADAL" clId="{4E99356D-1F92-4D6E-8933-121F721F218A}" dt="2023-03-08T22:03:53.724" v="5074" actId="14100"/>
          <ac:picMkLst>
            <pc:docMk/>
            <pc:sldMk cId="2773960139" sldId="329"/>
            <ac:picMk id="7" creationId="{A01CF2AB-D0D6-0008-628A-322D7A32E3DD}"/>
          </ac:picMkLst>
        </pc:picChg>
      </pc:sldChg>
      <pc:sldChg chg="del">
        <pc:chgData name="Kadari, Mr. Yuraja Sohel" userId="e679ffe7-4a8e-4e56-b620-7ee1411c203f" providerId="ADAL" clId="{4E99356D-1F92-4D6E-8933-121F721F218A}" dt="2023-03-08T22:41:09.702" v="5983" actId="47"/>
        <pc:sldMkLst>
          <pc:docMk/>
          <pc:sldMk cId="781056215" sldId="330"/>
        </pc:sldMkLst>
      </pc:sldChg>
      <pc:sldChg chg="modSp mod">
        <pc:chgData name="Kadari, Mr. Yuraja Sohel" userId="e679ffe7-4a8e-4e56-b620-7ee1411c203f" providerId="ADAL" clId="{4E99356D-1F92-4D6E-8933-121F721F218A}" dt="2023-03-08T23:35:21.813" v="6344"/>
        <pc:sldMkLst>
          <pc:docMk/>
          <pc:sldMk cId="3857659446" sldId="331"/>
        </pc:sldMkLst>
        <pc:spChg chg="mod">
          <ac:chgData name="Kadari, Mr. Yuraja Sohel" userId="e679ffe7-4a8e-4e56-b620-7ee1411c203f" providerId="ADAL" clId="{4E99356D-1F92-4D6E-8933-121F721F218A}" dt="2023-03-08T23:32:45.551" v="6324" actId="404"/>
          <ac:spMkLst>
            <pc:docMk/>
            <pc:sldMk cId="3857659446" sldId="331"/>
            <ac:spMk id="3" creationId="{33507D1A-46B2-6D7A-4C38-6541BE7784E0}"/>
          </ac:spMkLst>
        </pc:spChg>
        <pc:graphicFrameChg chg="mod modGraphic">
          <ac:chgData name="Kadari, Mr. Yuraja Sohel" userId="e679ffe7-4a8e-4e56-b620-7ee1411c203f" providerId="ADAL" clId="{4E99356D-1F92-4D6E-8933-121F721F218A}" dt="2023-03-08T23:35:21.813" v="6344"/>
          <ac:graphicFrameMkLst>
            <pc:docMk/>
            <pc:sldMk cId="3857659446" sldId="331"/>
            <ac:graphicFrameMk id="4" creationId="{19BC5461-A204-FBEB-A995-57C319529CDC}"/>
          </ac:graphicFrameMkLst>
        </pc:graphicFrameChg>
      </pc:sldChg>
      <pc:sldChg chg="addSp modSp new mod">
        <pc:chgData name="Kadari, Mr. Yuraja Sohel" userId="e679ffe7-4a8e-4e56-b620-7ee1411c203f" providerId="ADAL" clId="{4E99356D-1F92-4D6E-8933-121F721F218A}" dt="2023-03-09T05:38:45.731" v="7023" actId="20577"/>
        <pc:sldMkLst>
          <pc:docMk/>
          <pc:sldMk cId="2285786455" sldId="335"/>
        </pc:sldMkLst>
        <pc:spChg chg="mod">
          <ac:chgData name="Kadari, Mr. Yuraja Sohel" userId="e679ffe7-4a8e-4e56-b620-7ee1411c203f" providerId="ADAL" clId="{4E99356D-1F92-4D6E-8933-121F721F218A}" dt="2023-03-09T05:10:51.866" v="6399" actId="2711"/>
          <ac:spMkLst>
            <pc:docMk/>
            <pc:sldMk cId="2285786455" sldId="335"/>
            <ac:spMk id="2" creationId="{EAD7A3DF-30D3-8AFE-CB95-889428D90CD9}"/>
          </ac:spMkLst>
        </pc:spChg>
        <pc:spChg chg="mod">
          <ac:chgData name="Kadari, Mr. Yuraja Sohel" userId="e679ffe7-4a8e-4e56-b620-7ee1411c203f" providerId="ADAL" clId="{4E99356D-1F92-4D6E-8933-121F721F218A}" dt="2023-03-09T05:38:45.731" v="7023" actId="20577"/>
          <ac:spMkLst>
            <pc:docMk/>
            <pc:sldMk cId="2285786455" sldId="335"/>
            <ac:spMk id="3" creationId="{292B756B-0F3B-00EE-1B76-D1F35433CDC8}"/>
          </ac:spMkLst>
        </pc:spChg>
        <pc:spChg chg="add mod">
          <ac:chgData name="Kadari, Mr. Yuraja Sohel" userId="e679ffe7-4a8e-4e56-b620-7ee1411c203f" providerId="ADAL" clId="{4E99356D-1F92-4D6E-8933-121F721F218A}" dt="2023-03-09T05:11:16.474" v="6400"/>
          <ac:spMkLst>
            <pc:docMk/>
            <pc:sldMk cId="2285786455" sldId="335"/>
            <ac:spMk id="5" creationId="{E3A18E5E-65E1-EE66-119F-03B847E776B6}"/>
          </ac:spMkLst>
        </pc:spChg>
      </pc:sldChg>
      <pc:sldMasterChg chg="addSp">
        <pc:chgData name="Kadari, Mr. Yuraja Sohel" userId="e679ffe7-4a8e-4e56-b620-7ee1411c203f" providerId="ADAL" clId="{4E99356D-1F92-4D6E-8933-121F721F218A}" dt="2023-03-08T05:23:08.617" v="0"/>
        <pc:sldMasterMkLst>
          <pc:docMk/>
          <pc:sldMasterMk cId="2785980488" sldId="2147483660"/>
        </pc:sldMasterMkLst>
        <pc:graphicFrameChg chg="add">
          <ac:chgData name="Kadari, Mr. Yuraja Sohel" userId="e679ffe7-4a8e-4e56-b620-7ee1411c203f" providerId="ADAL" clId="{4E99356D-1F92-4D6E-8933-121F721F218A}" dt="2023-03-08T05:23:08.617" v="0"/>
          <ac:graphicFrameMkLst>
            <pc:docMk/>
            <pc:sldMasterMk cId="2785980488" sldId="2147483660"/>
            <ac:graphicFrameMk id="2" creationId="{B72E9FFE-12E8-C6DA-407E-6A6F070B422E}"/>
          </ac:graphicFrameMkLst>
        </pc:graphicFrameChg>
      </pc:sldMasterChg>
      <pc:sldMasterChg chg="addSp setBg modSldLayout">
        <pc:chgData name="Kadari, Mr. Yuraja Sohel" userId="e679ffe7-4a8e-4e56-b620-7ee1411c203f" providerId="ADAL" clId="{4E99356D-1F92-4D6E-8933-121F721F218A}" dt="2023-03-08T16:53:12.063" v="640"/>
        <pc:sldMasterMkLst>
          <pc:docMk/>
          <pc:sldMasterMk cId="1294465388" sldId="2147483720"/>
        </pc:sldMasterMkLst>
        <pc:graphicFrameChg chg="add">
          <ac:chgData name="Kadari, Mr. Yuraja Sohel" userId="e679ffe7-4a8e-4e56-b620-7ee1411c203f" providerId="ADAL" clId="{4E99356D-1F92-4D6E-8933-121F721F218A}" dt="2023-03-08T16:51:44.500" v="530"/>
          <ac:graphicFrameMkLst>
            <pc:docMk/>
            <pc:sldMasterMk cId="1294465388" sldId="2147483720"/>
            <ac:graphicFrameMk id="7" creationId="{13C41B2D-4979-C5ED-B857-50AA124652D5}"/>
          </ac:graphicFrameMkLst>
        </pc:graphicFrameChg>
        <pc:sldLayoutChg chg="setBg">
          <pc:chgData name="Kadari, Mr. Yuraja Sohel" userId="e679ffe7-4a8e-4e56-b620-7ee1411c203f" providerId="ADAL" clId="{4E99356D-1F92-4D6E-8933-121F721F218A}" dt="2023-03-08T16:53:12.063" v="640"/>
          <pc:sldLayoutMkLst>
            <pc:docMk/>
            <pc:sldMasterMk cId="1294465388" sldId="2147483720"/>
            <pc:sldLayoutMk cId="2374643271" sldId="2147483721"/>
          </pc:sldLayoutMkLst>
        </pc:sldLayoutChg>
        <pc:sldLayoutChg chg="setBg">
          <pc:chgData name="Kadari, Mr. Yuraja Sohel" userId="e679ffe7-4a8e-4e56-b620-7ee1411c203f" providerId="ADAL" clId="{4E99356D-1F92-4D6E-8933-121F721F218A}" dt="2023-03-08T16:53:12.063" v="640"/>
          <pc:sldLayoutMkLst>
            <pc:docMk/>
            <pc:sldMasterMk cId="1294465388" sldId="2147483720"/>
            <pc:sldLayoutMk cId="2643217063" sldId="2147483722"/>
          </pc:sldLayoutMkLst>
        </pc:sldLayoutChg>
        <pc:sldLayoutChg chg="setBg">
          <pc:chgData name="Kadari, Mr. Yuraja Sohel" userId="e679ffe7-4a8e-4e56-b620-7ee1411c203f" providerId="ADAL" clId="{4E99356D-1F92-4D6E-8933-121F721F218A}" dt="2023-03-08T16:53:12.063" v="640"/>
          <pc:sldLayoutMkLst>
            <pc:docMk/>
            <pc:sldMasterMk cId="1294465388" sldId="2147483720"/>
            <pc:sldLayoutMk cId="1746584279" sldId="2147483723"/>
          </pc:sldLayoutMkLst>
        </pc:sldLayoutChg>
        <pc:sldLayoutChg chg="setBg">
          <pc:chgData name="Kadari, Mr. Yuraja Sohel" userId="e679ffe7-4a8e-4e56-b620-7ee1411c203f" providerId="ADAL" clId="{4E99356D-1F92-4D6E-8933-121F721F218A}" dt="2023-03-08T16:53:12.063" v="640"/>
          <pc:sldLayoutMkLst>
            <pc:docMk/>
            <pc:sldMasterMk cId="1294465388" sldId="2147483720"/>
            <pc:sldLayoutMk cId="3086006391" sldId="2147483724"/>
          </pc:sldLayoutMkLst>
        </pc:sldLayoutChg>
        <pc:sldLayoutChg chg="setBg">
          <pc:chgData name="Kadari, Mr. Yuraja Sohel" userId="e679ffe7-4a8e-4e56-b620-7ee1411c203f" providerId="ADAL" clId="{4E99356D-1F92-4D6E-8933-121F721F218A}" dt="2023-03-08T16:53:12.063" v="640"/>
          <pc:sldLayoutMkLst>
            <pc:docMk/>
            <pc:sldMasterMk cId="1294465388" sldId="2147483720"/>
            <pc:sldLayoutMk cId="2280240878" sldId="2147483725"/>
          </pc:sldLayoutMkLst>
        </pc:sldLayoutChg>
        <pc:sldLayoutChg chg="setBg">
          <pc:chgData name="Kadari, Mr. Yuraja Sohel" userId="e679ffe7-4a8e-4e56-b620-7ee1411c203f" providerId="ADAL" clId="{4E99356D-1F92-4D6E-8933-121F721F218A}" dt="2023-03-08T16:53:12.063" v="640"/>
          <pc:sldLayoutMkLst>
            <pc:docMk/>
            <pc:sldMasterMk cId="1294465388" sldId="2147483720"/>
            <pc:sldLayoutMk cId="29904986" sldId="2147483726"/>
          </pc:sldLayoutMkLst>
        </pc:sldLayoutChg>
        <pc:sldLayoutChg chg="setBg">
          <pc:chgData name="Kadari, Mr. Yuraja Sohel" userId="e679ffe7-4a8e-4e56-b620-7ee1411c203f" providerId="ADAL" clId="{4E99356D-1F92-4D6E-8933-121F721F218A}" dt="2023-03-08T16:53:12.063" v="640"/>
          <pc:sldLayoutMkLst>
            <pc:docMk/>
            <pc:sldMasterMk cId="1294465388" sldId="2147483720"/>
            <pc:sldLayoutMk cId="705379583" sldId="2147483727"/>
          </pc:sldLayoutMkLst>
        </pc:sldLayoutChg>
        <pc:sldLayoutChg chg="setBg">
          <pc:chgData name="Kadari, Mr. Yuraja Sohel" userId="e679ffe7-4a8e-4e56-b620-7ee1411c203f" providerId="ADAL" clId="{4E99356D-1F92-4D6E-8933-121F721F218A}" dt="2023-03-08T16:53:12.063" v="640"/>
          <pc:sldLayoutMkLst>
            <pc:docMk/>
            <pc:sldMasterMk cId="1294465388" sldId="2147483720"/>
            <pc:sldLayoutMk cId="920221385" sldId="2147483728"/>
          </pc:sldLayoutMkLst>
        </pc:sldLayoutChg>
        <pc:sldLayoutChg chg="setBg">
          <pc:chgData name="Kadari, Mr. Yuraja Sohel" userId="e679ffe7-4a8e-4e56-b620-7ee1411c203f" providerId="ADAL" clId="{4E99356D-1F92-4D6E-8933-121F721F218A}" dt="2023-03-08T16:53:12.063" v="640"/>
          <pc:sldLayoutMkLst>
            <pc:docMk/>
            <pc:sldMasterMk cId="1294465388" sldId="2147483720"/>
            <pc:sldLayoutMk cId="146523048" sldId="2147483729"/>
          </pc:sldLayoutMkLst>
        </pc:sldLayoutChg>
        <pc:sldLayoutChg chg="setBg">
          <pc:chgData name="Kadari, Mr. Yuraja Sohel" userId="e679ffe7-4a8e-4e56-b620-7ee1411c203f" providerId="ADAL" clId="{4E99356D-1F92-4D6E-8933-121F721F218A}" dt="2023-03-08T16:53:12.063" v="640"/>
          <pc:sldLayoutMkLst>
            <pc:docMk/>
            <pc:sldMasterMk cId="1294465388" sldId="2147483720"/>
            <pc:sldLayoutMk cId="1119307243" sldId="2147483730"/>
          </pc:sldLayoutMkLst>
        </pc:sldLayoutChg>
        <pc:sldLayoutChg chg="setBg">
          <pc:chgData name="Kadari, Mr. Yuraja Sohel" userId="e679ffe7-4a8e-4e56-b620-7ee1411c203f" providerId="ADAL" clId="{4E99356D-1F92-4D6E-8933-121F721F218A}" dt="2023-03-08T16:53:12.063" v="640"/>
          <pc:sldLayoutMkLst>
            <pc:docMk/>
            <pc:sldMasterMk cId="1294465388" sldId="2147483720"/>
            <pc:sldLayoutMk cId="2889270351" sldId="2147483731"/>
          </pc:sldLayoutMkLst>
        </pc:sldLayoutChg>
      </pc:sldMasterChg>
    </pc:docChg>
  </pc:docChgLst>
  <pc:docChgLst>
    <pc:chgData name="Kalbande, Mr. Ameya Dilip" userId="S::ak04817n@pace.edu::269cbf64-a0b4-4ca7-ba6c-9252f6b1fb3e" providerId="AD" clId="Web-{7D614D30-39F9-D9D8-AC1F-D2757E3378F7}"/>
    <pc:docChg chg="addSld modSld">
      <pc:chgData name="Kalbande, Mr. Ameya Dilip" userId="S::ak04817n@pace.edu::269cbf64-a0b4-4ca7-ba6c-9252f6b1fb3e" providerId="AD" clId="Web-{7D614D30-39F9-D9D8-AC1F-D2757E3378F7}" dt="2023-03-08T09:04:13.429" v="194" actId="1076"/>
      <pc:docMkLst>
        <pc:docMk/>
      </pc:docMkLst>
      <pc:sldChg chg="modSp">
        <pc:chgData name="Kalbande, Mr. Ameya Dilip" userId="S::ak04817n@pace.edu::269cbf64-a0b4-4ca7-ba6c-9252f6b1fb3e" providerId="AD" clId="Web-{7D614D30-39F9-D9D8-AC1F-D2757E3378F7}" dt="2023-03-08T07:00:33.913" v="7" actId="20577"/>
        <pc:sldMkLst>
          <pc:docMk/>
          <pc:sldMk cId="1939777493" sldId="256"/>
        </pc:sldMkLst>
        <pc:spChg chg="mod">
          <ac:chgData name="Kalbande, Mr. Ameya Dilip" userId="S::ak04817n@pace.edu::269cbf64-a0b4-4ca7-ba6c-9252f6b1fb3e" providerId="AD" clId="Web-{7D614D30-39F9-D9D8-AC1F-D2757E3378F7}" dt="2023-03-08T07:00:33.913" v="7" actId="20577"/>
          <ac:spMkLst>
            <pc:docMk/>
            <pc:sldMk cId="1939777493" sldId="256"/>
            <ac:spMk id="3" creationId="{8F006885-C86F-DC94-0662-16CD97ECED0F}"/>
          </ac:spMkLst>
        </pc:spChg>
      </pc:sldChg>
      <pc:sldChg chg="modSp">
        <pc:chgData name="Kalbande, Mr. Ameya Dilip" userId="S::ak04817n@pace.edu::269cbf64-a0b4-4ca7-ba6c-9252f6b1fb3e" providerId="AD" clId="Web-{7D614D30-39F9-D9D8-AC1F-D2757E3378F7}" dt="2023-03-08T07:15:45.346" v="158" actId="20577"/>
        <pc:sldMkLst>
          <pc:docMk/>
          <pc:sldMk cId="280990142" sldId="263"/>
        </pc:sldMkLst>
        <pc:spChg chg="mod">
          <ac:chgData name="Kalbande, Mr. Ameya Dilip" userId="S::ak04817n@pace.edu::269cbf64-a0b4-4ca7-ba6c-9252f6b1fb3e" providerId="AD" clId="Web-{7D614D30-39F9-D9D8-AC1F-D2757E3378F7}" dt="2023-03-08T07:06:41.371" v="14" actId="20577"/>
          <ac:spMkLst>
            <pc:docMk/>
            <pc:sldMk cId="280990142" sldId="263"/>
            <ac:spMk id="2" creationId="{7D7F8D28-CA6C-52FB-8966-28F51FDCBA13}"/>
          </ac:spMkLst>
        </pc:spChg>
        <pc:spChg chg="mod">
          <ac:chgData name="Kalbande, Mr. Ameya Dilip" userId="S::ak04817n@pace.edu::269cbf64-a0b4-4ca7-ba6c-9252f6b1fb3e" providerId="AD" clId="Web-{7D614D30-39F9-D9D8-AC1F-D2757E3378F7}" dt="2023-03-08T07:15:45.346" v="158" actId="20577"/>
          <ac:spMkLst>
            <pc:docMk/>
            <pc:sldMk cId="280990142" sldId="263"/>
            <ac:spMk id="3" creationId="{BD72941D-78D3-A836-C00C-335CB4541904}"/>
          </ac:spMkLst>
        </pc:spChg>
      </pc:sldChg>
      <pc:sldChg chg="addSp delSp modSp">
        <pc:chgData name="Kalbande, Mr. Ameya Dilip" userId="S::ak04817n@pace.edu::269cbf64-a0b4-4ca7-ba6c-9252f6b1fb3e" providerId="AD" clId="Web-{7D614D30-39F9-D9D8-AC1F-D2757E3378F7}" dt="2023-03-08T07:33:38.550" v="175" actId="1076"/>
        <pc:sldMkLst>
          <pc:docMk/>
          <pc:sldMk cId="2000259412" sldId="264"/>
        </pc:sldMkLst>
        <pc:picChg chg="mod">
          <ac:chgData name="Kalbande, Mr. Ameya Dilip" userId="S::ak04817n@pace.edu::269cbf64-a0b4-4ca7-ba6c-9252f6b1fb3e" providerId="AD" clId="Web-{7D614D30-39F9-D9D8-AC1F-D2757E3378F7}" dt="2023-03-08T07:33:38.550" v="175" actId="1076"/>
          <ac:picMkLst>
            <pc:docMk/>
            <pc:sldMk cId="2000259412" sldId="264"/>
            <ac:picMk id="6" creationId="{F4F93F3A-01A7-D3A8-2018-CD5DA4C7EDB5}"/>
          </ac:picMkLst>
        </pc:picChg>
        <pc:picChg chg="add del mod">
          <ac:chgData name="Kalbande, Mr. Ameya Dilip" userId="S::ak04817n@pace.edu::269cbf64-a0b4-4ca7-ba6c-9252f6b1fb3e" providerId="AD" clId="Web-{7D614D30-39F9-D9D8-AC1F-D2757E3378F7}" dt="2023-03-08T07:32:38.609" v="162"/>
          <ac:picMkLst>
            <pc:docMk/>
            <pc:sldMk cId="2000259412" sldId="264"/>
            <ac:picMk id="7" creationId="{836EE424-F1C3-AF59-873F-0EE4D72C2501}"/>
          </ac:picMkLst>
        </pc:picChg>
        <pc:picChg chg="add mod">
          <ac:chgData name="Kalbande, Mr. Ameya Dilip" userId="S::ak04817n@pace.edu::269cbf64-a0b4-4ca7-ba6c-9252f6b1fb3e" providerId="AD" clId="Web-{7D614D30-39F9-D9D8-AC1F-D2757E3378F7}" dt="2023-03-08T07:33:32.722" v="174" actId="1076"/>
          <ac:picMkLst>
            <pc:docMk/>
            <pc:sldMk cId="2000259412" sldId="264"/>
            <ac:picMk id="8" creationId="{40E330F9-ED68-DC55-CCBA-15A19E1644B1}"/>
          </ac:picMkLst>
        </pc:picChg>
      </pc:sldChg>
      <pc:sldChg chg="addSp modSp">
        <pc:chgData name="Kalbande, Mr. Ameya Dilip" userId="S::ak04817n@pace.edu::269cbf64-a0b4-4ca7-ba6c-9252f6b1fb3e" providerId="AD" clId="Web-{7D614D30-39F9-D9D8-AC1F-D2757E3378F7}" dt="2023-03-08T07:38:13.097" v="184"/>
        <pc:sldMkLst>
          <pc:docMk/>
          <pc:sldMk cId="2281027140" sldId="294"/>
        </pc:sldMkLst>
        <pc:spChg chg="add">
          <ac:chgData name="Kalbande, Mr. Ameya Dilip" userId="S::ak04817n@pace.edu::269cbf64-a0b4-4ca7-ba6c-9252f6b1fb3e" providerId="AD" clId="Web-{7D614D30-39F9-D9D8-AC1F-D2757E3378F7}" dt="2023-03-08T07:38:13.097" v="184"/>
          <ac:spMkLst>
            <pc:docMk/>
            <pc:sldMk cId="2281027140" sldId="294"/>
            <ac:spMk id="6" creationId="{9DC0E6A7-03FE-2959-6FE7-879284C8B2F2}"/>
          </ac:spMkLst>
        </pc:spChg>
        <pc:picChg chg="mod">
          <ac:chgData name="Kalbande, Mr. Ameya Dilip" userId="S::ak04817n@pace.edu::269cbf64-a0b4-4ca7-ba6c-9252f6b1fb3e" providerId="AD" clId="Web-{7D614D30-39F9-D9D8-AC1F-D2757E3378F7}" dt="2023-03-08T07:37:26.281" v="176" actId="1076"/>
          <ac:picMkLst>
            <pc:docMk/>
            <pc:sldMk cId="2281027140" sldId="294"/>
            <ac:picMk id="4" creationId="{AC89C746-0442-CA15-25C3-22E2A171A3A7}"/>
          </ac:picMkLst>
        </pc:picChg>
        <pc:picChg chg="add mod">
          <ac:chgData name="Kalbande, Mr. Ameya Dilip" userId="S::ak04817n@pace.edu::269cbf64-a0b4-4ca7-ba6c-9252f6b1fb3e" providerId="AD" clId="Web-{7D614D30-39F9-D9D8-AC1F-D2757E3378F7}" dt="2023-03-08T07:37:53.595" v="183" actId="1076"/>
          <ac:picMkLst>
            <pc:docMk/>
            <pc:sldMk cId="2281027140" sldId="294"/>
            <ac:picMk id="5" creationId="{31F7815C-33B9-6117-61E4-E8AD03D8EF23}"/>
          </ac:picMkLst>
        </pc:picChg>
      </pc:sldChg>
      <pc:sldChg chg="addSp delSp modSp new mod setBg">
        <pc:chgData name="Kalbande, Mr. Ameya Dilip" userId="S::ak04817n@pace.edu::269cbf64-a0b4-4ca7-ba6c-9252f6b1fb3e" providerId="AD" clId="Web-{7D614D30-39F9-D9D8-AC1F-D2757E3378F7}" dt="2023-03-08T09:04:13.429" v="194" actId="1076"/>
        <pc:sldMkLst>
          <pc:docMk/>
          <pc:sldMk cId="1582700825" sldId="296"/>
        </pc:sldMkLst>
        <pc:spChg chg="del mod">
          <ac:chgData name="Kalbande, Mr. Ameya Dilip" userId="S::ak04817n@pace.edu::269cbf64-a0b4-4ca7-ba6c-9252f6b1fb3e" providerId="AD" clId="Web-{7D614D30-39F9-D9D8-AC1F-D2757E3378F7}" dt="2023-03-08T09:03:45.100" v="187"/>
          <ac:spMkLst>
            <pc:docMk/>
            <pc:sldMk cId="1582700825" sldId="296"/>
            <ac:spMk id="2" creationId="{3DFCECF2-E589-EE97-A578-E27DDAEE54C9}"/>
          </ac:spMkLst>
        </pc:spChg>
        <pc:spChg chg="del">
          <ac:chgData name="Kalbande, Mr. Ameya Dilip" userId="S::ak04817n@pace.edu::269cbf64-a0b4-4ca7-ba6c-9252f6b1fb3e" providerId="AD" clId="Web-{7D614D30-39F9-D9D8-AC1F-D2757E3378F7}" dt="2023-03-08T09:03:48.428" v="188"/>
          <ac:spMkLst>
            <pc:docMk/>
            <pc:sldMk cId="1582700825" sldId="296"/>
            <ac:spMk id="3" creationId="{60BC71E0-8C77-DB61-A305-18EE4CB6BE47}"/>
          </ac:spMkLst>
        </pc:spChg>
        <pc:picChg chg="add mod ord">
          <ac:chgData name="Kalbande, Mr. Ameya Dilip" userId="S::ak04817n@pace.edu::269cbf64-a0b4-4ca7-ba6c-9252f6b1fb3e" providerId="AD" clId="Web-{7D614D30-39F9-D9D8-AC1F-D2757E3378F7}" dt="2023-03-08T09:04:13.429" v="194" actId="1076"/>
          <ac:picMkLst>
            <pc:docMk/>
            <pc:sldMk cId="1582700825" sldId="296"/>
            <ac:picMk id="4" creationId="{94C4AA97-43C6-42A0-145E-DBBA07728F73}"/>
          </ac:picMkLst>
        </pc:picChg>
      </pc:sldChg>
    </pc:docChg>
  </pc:docChgLst>
  <pc:docChgLst>
    <pc:chgData name="Jadhav, Mr. Vicky" userId="S::vj54818n@pace.edu::3922eaf5-9e27-41b1-b805-d385d1955774" providerId="AD" clId="Web-{8F6A5175-026A-82A5-CF70-722A49020F05}"/>
    <pc:docChg chg="modSld">
      <pc:chgData name="Jadhav, Mr. Vicky" userId="S::vj54818n@pace.edu::3922eaf5-9e27-41b1-b805-d385d1955774" providerId="AD" clId="Web-{8F6A5175-026A-82A5-CF70-722A49020F05}" dt="2023-03-09T21:50:32.315" v="0"/>
      <pc:docMkLst>
        <pc:docMk/>
      </pc:docMkLst>
      <pc:sldChg chg="mod setBg">
        <pc:chgData name="Jadhav, Mr. Vicky" userId="S::vj54818n@pace.edu::3922eaf5-9e27-41b1-b805-d385d1955774" providerId="AD" clId="Web-{8F6A5175-026A-82A5-CF70-722A49020F05}" dt="2023-03-09T21:50:32.315" v="0"/>
        <pc:sldMkLst>
          <pc:docMk/>
          <pc:sldMk cId="494636979" sldId="336"/>
        </pc:sldMkLst>
      </pc:sldChg>
    </pc:docChg>
  </pc:docChgLst>
  <pc:docChgLst>
    <pc:chgData name="Kalbande, Mr. Ameya Dilip" userId="S::ak04817n@pace.edu::269cbf64-a0b4-4ca7-ba6c-9252f6b1fb3e" providerId="AD" clId="Web-{4339D34C-CE8E-2F58-B1C0-54DCEDD8C1E4}"/>
    <pc:docChg chg="addSld modSld">
      <pc:chgData name="Kalbande, Mr. Ameya Dilip" userId="S::ak04817n@pace.edu::269cbf64-a0b4-4ca7-ba6c-9252f6b1fb3e" providerId="AD" clId="Web-{4339D34C-CE8E-2F58-B1C0-54DCEDD8C1E4}" dt="2023-03-08T07:56:18.606" v="506" actId="1076"/>
      <pc:docMkLst>
        <pc:docMk/>
      </pc:docMkLst>
      <pc:sldChg chg="addSp modSp">
        <pc:chgData name="Kalbande, Mr. Ameya Dilip" userId="S::ak04817n@pace.edu::269cbf64-a0b4-4ca7-ba6c-9252f6b1fb3e" providerId="AD" clId="Web-{4339D34C-CE8E-2F58-B1C0-54DCEDD8C1E4}" dt="2023-03-08T07:39:48.992" v="347" actId="20577"/>
        <pc:sldMkLst>
          <pc:docMk/>
          <pc:sldMk cId="280990142" sldId="263"/>
        </pc:sldMkLst>
        <pc:spChg chg="mod">
          <ac:chgData name="Kalbande, Mr. Ameya Dilip" userId="S::ak04817n@pace.edu::269cbf64-a0b4-4ca7-ba6c-9252f6b1fb3e" providerId="AD" clId="Web-{4339D34C-CE8E-2F58-B1C0-54DCEDD8C1E4}" dt="2023-03-08T07:07:26.408" v="4" actId="14100"/>
          <ac:spMkLst>
            <pc:docMk/>
            <pc:sldMk cId="280990142" sldId="263"/>
            <ac:spMk id="2" creationId="{7D7F8D28-CA6C-52FB-8966-28F51FDCBA13}"/>
          </ac:spMkLst>
        </pc:spChg>
        <pc:spChg chg="mod">
          <ac:chgData name="Kalbande, Mr. Ameya Dilip" userId="S::ak04817n@pace.edu::269cbf64-a0b4-4ca7-ba6c-9252f6b1fb3e" providerId="AD" clId="Web-{4339D34C-CE8E-2F58-B1C0-54DCEDD8C1E4}" dt="2023-03-08T07:39:48.992" v="347" actId="20577"/>
          <ac:spMkLst>
            <pc:docMk/>
            <pc:sldMk cId="280990142" sldId="263"/>
            <ac:spMk id="3" creationId="{BD72941D-78D3-A836-C00C-335CB4541904}"/>
          </ac:spMkLst>
        </pc:spChg>
        <pc:picChg chg="add mod">
          <ac:chgData name="Kalbande, Mr. Ameya Dilip" userId="S::ak04817n@pace.edu::269cbf64-a0b4-4ca7-ba6c-9252f6b1fb3e" providerId="AD" clId="Web-{4339D34C-CE8E-2F58-B1C0-54DCEDD8C1E4}" dt="2023-03-08T07:22:21.827" v="114" actId="1076"/>
          <ac:picMkLst>
            <pc:docMk/>
            <pc:sldMk cId="280990142" sldId="263"/>
            <ac:picMk id="4" creationId="{FD011E76-1306-EC23-13E3-578FD7D85698}"/>
          </ac:picMkLst>
        </pc:picChg>
      </pc:sldChg>
      <pc:sldChg chg="addSp delSp modSp">
        <pc:chgData name="Kalbande, Mr. Ameya Dilip" userId="S::ak04817n@pace.edu::269cbf64-a0b4-4ca7-ba6c-9252f6b1fb3e" providerId="AD" clId="Web-{4339D34C-CE8E-2F58-B1C0-54DCEDD8C1E4}" dt="2023-03-08T07:34:49.620" v="322" actId="14100"/>
        <pc:sldMkLst>
          <pc:docMk/>
          <pc:sldMk cId="2000259412" sldId="264"/>
        </pc:sldMkLst>
        <pc:spChg chg="del">
          <ac:chgData name="Kalbande, Mr. Ameya Dilip" userId="S::ak04817n@pace.edu::269cbf64-a0b4-4ca7-ba6c-9252f6b1fb3e" providerId="AD" clId="Web-{4339D34C-CE8E-2F58-B1C0-54DCEDD8C1E4}" dt="2023-03-08T07:22:43.922" v="115"/>
          <ac:spMkLst>
            <pc:docMk/>
            <pc:sldMk cId="2000259412" sldId="264"/>
            <ac:spMk id="2" creationId="{7D7F8D28-CA6C-52FB-8966-28F51FDCBA13}"/>
          </ac:spMkLst>
        </pc:spChg>
        <pc:spChg chg="mod">
          <ac:chgData name="Kalbande, Mr. Ameya Dilip" userId="S::ak04817n@pace.edu::269cbf64-a0b4-4ca7-ba6c-9252f6b1fb3e" providerId="AD" clId="Web-{4339D34C-CE8E-2F58-B1C0-54DCEDD8C1E4}" dt="2023-03-08T07:31:36.238" v="310" actId="20577"/>
          <ac:spMkLst>
            <pc:docMk/>
            <pc:sldMk cId="2000259412" sldId="264"/>
            <ac:spMk id="3" creationId="{BD72941D-78D3-A836-C00C-335CB4541904}"/>
          </ac:spMkLst>
        </pc:spChg>
        <pc:picChg chg="add del mod">
          <ac:chgData name="Kalbande, Mr. Ameya Dilip" userId="S::ak04817n@pace.edu::269cbf64-a0b4-4ca7-ba6c-9252f6b1fb3e" providerId="AD" clId="Web-{4339D34C-CE8E-2F58-B1C0-54DCEDD8C1E4}" dt="2023-03-08T07:24:23.316" v="133"/>
          <ac:picMkLst>
            <pc:docMk/>
            <pc:sldMk cId="2000259412" sldId="264"/>
            <ac:picMk id="4" creationId="{F9885148-105D-2BAE-D8DF-F0F387A4FCFB}"/>
          </ac:picMkLst>
        </pc:picChg>
        <pc:picChg chg="add mod">
          <ac:chgData name="Kalbande, Mr. Ameya Dilip" userId="S::ak04817n@pace.edu::269cbf64-a0b4-4ca7-ba6c-9252f6b1fb3e" providerId="AD" clId="Web-{4339D34C-CE8E-2F58-B1C0-54DCEDD8C1E4}" dt="2023-03-08T07:32:01.255" v="319" actId="1076"/>
          <ac:picMkLst>
            <pc:docMk/>
            <pc:sldMk cId="2000259412" sldId="264"/>
            <ac:picMk id="6" creationId="{F4F93F3A-01A7-D3A8-2018-CD5DA4C7EDB5}"/>
          </ac:picMkLst>
        </pc:picChg>
        <pc:picChg chg="mod">
          <ac:chgData name="Kalbande, Mr. Ameya Dilip" userId="S::ak04817n@pace.edu::269cbf64-a0b4-4ca7-ba6c-9252f6b1fb3e" providerId="AD" clId="Web-{4339D34C-CE8E-2F58-B1C0-54DCEDD8C1E4}" dt="2023-03-08T07:34:49.620" v="322" actId="14100"/>
          <ac:picMkLst>
            <pc:docMk/>
            <pc:sldMk cId="2000259412" sldId="264"/>
            <ac:picMk id="8" creationId="{40E330F9-ED68-DC55-CCBA-15A19E1644B1}"/>
          </ac:picMkLst>
        </pc:picChg>
      </pc:sldChg>
      <pc:sldChg chg="addSp delSp modSp new">
        <pc:chgData name="Kalbande, Mr. Ameya Dilip" userId="S::ak04817n@pace.edu::269cbf64-a0b4-4ca7-ba6c-9252f6b1fb3e" providerId="AD" clId="Web-{4339D34C-CE8E-2F58-B1C0-54DCEDD8C1E4}" dt="2023-03-08T07:38:57.850" v="337" actId="1076"/>
        <pc:sldMkLst>
          <pc:docMk/>
          <pc:sldMk cId="2281027140" sldId="294"/>
        </pc:sldMkLst>
        <pc:spChg chg="del">
          <ac:chgData name="Kalbande, Mr. Ameya Dilip" userId="S::ak04817n@pace.edu::269cbf64-a0b4-4ca7-ba6c-9252f6b1fb3e" providerId="AD" clId="Web-{4339D34C-CE8E-2F58-B1C0-54DCEDD8C1E4}" dt="2023-03-08T07:35:18.262" v="324"/>
          <ac:spMkLst>
            <pc:docMk/>
            <pc:sldMk cId="2281027140" sldId="294"/>
            <ac:spMk id="2" creationId="{A5C8693C-49EA-7D0C-A73C-57DBA0687601}"/>
          </ac:spMkLst>
        </pc:spChg>
        <pc:spChg chg="del mod">
          <ac:chgData name="Kalbande, Mr. Ameya Dilip" userId="S::ak04817n@pace.edu::269cbf64-a0b4-4ca7-ba6c-9252f6b1fb3e" providerId="AD" clId="Web-{4339D34C-CE8E-2F58-B1C0-54DCEDD8C1E4}" dt="2023-03-08T07:36:53.033" v="326"/>
          <ac:spMkLst>
            <pc:docMk/>
            <pc:sldMk cId="2281027140" sldId="294"/>
            <ac:spMk id="3" creationId="{0662FBDD-C843-4B0C-D3A0-8A11BB65FEE0}"/>
          </ac:spMkLst>
        </pc:spChg>
        <pc:spChg chg="mod">
          <ac:chgData name="Kalbande, Mr. Ameya Dilip" userId="S::ak04817n@pace.edu::269cbf64-a0b4-4ca7-ba6c-9252f6b1fb3e" providerId="AD" clId="Web-{4339D34C-CE8E-2F58-B1C0-54DCEDD8C1E4}" dt="2023-03-08T07:38:57.850" v="337" actId="1076"/>
          <ac:spMkLst>
            <pc:docMk/>
            <pc:sldMk cId="2281027140" sldId="294"/>
            <ac:spMk id="6" creationId="{9DC0E6A7-03FE-2959-6FE7-879284C8B2F2}"/>
          </ac:spMkLst>
        </pc:spChg>
        <pc:picChg chg="add mod ord">
          <ac:chgData name="Kalbande, Mr. Ameya Dilip" userId="S::ak04817n@pace.edu::269cbf64-a0b4-4ca7-ba6c-9252f6b1fb3e" providerId="AD" clId="Web-{4339D34C-CE8E-2F58-B1C0-54DCEDD8C1E4}" dt="2023-03-08T07:37:02.486" v="329" actId="1076"/>
          <ac:picMkLst>
            <pc:docMk/>
            <pc:sldMk cId="2281027140" sldId="294"/>
            <ac:picMk id="4" creationId="{AC89C746-0442-CA15-25C3-22E2A171A3A7}"/>
          </ac:picMkLst>
        </pc:picChg>
      </pc:sldChg>
      <pc:sldChg chg="addSp delSp modSp new">
        <pc:chgData name="Kalbande, Mr. Ameya Dilip" userId="S::ak04817n@pace.edu::269cbf64-a0b4-4ca7-ba6c-9252f6b1fb3e" providerId="AD" clId="Web-{4339D34C-CE8E-2F58-B1C0-54DCEDD8C1E4}" dt="2023-03-08T07:56:18.606" v="506" actId="1076"/>
        <pc:sldMkLst>
          <pc:docMk/>
          <pc:sldMk cId="1047219928" sldId="295"/>
        </pc:sldMkLst>
        <pc:spChg chg="mod">
          <ac:chgData name="Kalbande, Mr. Ameya Dilip" userId="S::ak04817n@pace.edu::269cbf64-a0b4-4ca7-ba6c-9252f6b1fb3e" providerId="AD" clId="Web-{4339D34C-CE8E-2F58-B1C0-54DCEDD8C1E4}" dt="2023-03-08T07:40:56.510" v="376" actId="20577"/>
          <ac:spMkLst>
            <pc:docMk/>
            <pc:sldMk cId="1047219928" sldId="295"/>
            <ac:spMk id="2" creationId="{11DFA059-8D7C-9222-CDD8-A58126FA06EC}"/>
          </ac:spMkLst>
        </pc:spChg>
        <pc:spChg chg="del mod">
          <ac:chgData name="Kalbande, Mr. Ameya Dilip" userId="S::ak04817n@pace.edu::269cbf64-a0b4-4ca7-ba6c-9252f6b1fb3e" providerId="AD" clId="Web-{4339D34C-CE8E-2F58-B1C0-54DCEDD8C1E4}" dt="2023-03-08T07:41:50.371" v="379"/>
          <ac:spMkLst>
            <pc:docMk/>
            <pc:sldMk cId="1047219928" sldId="295"/>
            <ac:spMk id="3" creationId="{AD627F21-12E7-70C8-A854-2ACD3D98D583}"/>
          </ac:spMkLst>
        </pc:spChg>
        <pc:spChg chg="add del mod">
          <ac:chgData name="Kalbande, Mr. Ameya Dilip" userId="S::ak04817n@pace.edu::269cbf64-a0b4-4ca7-ba6c-9252f6b1fb3e" providerId="AD" clId="Web-{4339D34C-CE8E-2F58-B1C0-54DCEDD8C1E4}" dt="2023-03-08T07:49:09.575" v="390"/>
          <ac:spMkLst>
            <pc:docMk/>
            <pc:sldMk cId="1047219928" sldId="295"/>
            <ac:spMk id="5" creationId="{098483DF-C6F8-594D-8E60-002051B2FF7F}"/>
          </ac:spMkLst>
        </pc:spChg>
        <pc:spChg chg="add mod">
          <ac:chgData name="Kalbande, Mr. Ameya Dilip" userId="S::ak04817n@pace.edu::269cbf64-a0b4-4ca7-ba6c-9252f6b1fb3e" providerId="AD" clId="Web-{4339D34C-CE8E-2F58-B1C0-54DCEDD8C1E4}" dt="2023-03-08T07:55:42.745" v="502" actId="20577"/>
          <ac:spMkLst>
            <pc:docMk/>
            <pc:sldMk cId="1047219928" sldId="295"/>
            <ac:spMk id="6" creationId="{F3E79D92-811A-B56A-4D39-A5A996226157}"/>
          </ac:spMkLst>
        </pc:spChg>
        <pc:picChg chg="add mod ord">
          <ac:chgData name="Kalbande, Mr. Ameya Dilip" userId="S::ak04817n@pace.edu::269cbf64-a0b4-4ca7-ba6c-9252f6b1fb3e" providerId="AD" clId="Web-{4339D34C-CE8E-2F58-B1C0-54DCEDD8C1E4}" dt="2023-03-08T07:56:18.606" v="506" actId="1076"/>
          <ac:picMkLst>
            <pc:docMk/>
            <pc:sldMk cId="1047219928" sldId="295"/>
            <ac:picMk id="4" creationId="{7C2F474B-5C4D-66C6-817B-EE029A66099D}"/>
          </ac:picMkLst>
        </pc:picChg>
      </pc:sldChg>
    </pc:docChg>
  </pc:docChgLst>
  <pc:docChgLst>
    <pc:chgData name="Jivani, Yash" userId="d3219360-dc34-4c5d-aaa0-47f172547215" providerId="ADAL" clId="{D9349ACE-9D26-4D25-A0F3-FB66BA60B341}"/>
    <pc:docChg chg="delSld modSld delMainMaster">
      <pc:chgData name="Jivani, Yash" userId="d3219360-dc34-4c5d-aaa0-47f172547215" providerId="ADAL" clId="{D9349ACE-9D26-4D25-A0F3-FB66BA60B341}" dt="2023-03-10T02:29:10.214" v="6" actId="1076"/>
      <pc:docMkLst>
        <pc:docMk/>
      </pc:docMkLst>
      <pc:sldChg chg="del">
        <pc:chgData name="Jivani, Yash" userId="d3219360-dc34-4c5d-aaa0-47f172547215" providerId="ADAL" clId="{D9349ACE-9D26-4D25-A0F3-FB66BA60B341}" dt="2023-03-10T02:28:20.374" v="3" actId="47"/>
        <pc:sldMkLst>
          <pc:docMk/>
          <pc:sldMk cId="280990142" sldId="263"/>
        </pc:sldMkLst>
      </pc:sldChg>
      <pc:sldChg chg="del">
        <pc:chgData name="Jivani, Yash" userId="d3219360-dc34-4c5d-aaa0-47f172547215" providerId="ADAL" clId="{D9349ACE-9D26-4D25-A0F3-FB66BA60B341}" dt="2023-03-10T02:28:20.374" v="3" actId="47"/>
        <pc:sldMkLst>
          <pc:docMk/>
          <pc:sldMk cId="2000259412" sldId="264"/>
        </pc:sldMkLst>
      </pc:sldChg>
      <pc:sldChg chg="del">
        <pc:chgData name="Jivani, Yash" userId="d3219360-dc34-4c5d-aaa0-47f172547215" providerId="ADAL" clId="{D9349ACE-9D26-4D25-A0F3-FB66BA60B341}" dt="2023-03-10T02:28:20.374" v="3" actId="47"/>
        <pc:sldMkLst>
          <pc:docMk/>
          <pc:sldMk cId="2281027140" sldId="294"/>
        </pc:sldMkLst>
      </pc:sldChg>
      <pc:sldChg chg="del">
        <pc:chgData name="Jivani, Yash" userId="d3219360-dc34-4c5d-aaa0-47f172547215" providerId="ADAL" clId="{D9349ACE-9D26-4D25-A0F3-FB66BA60B341}" dt="2023-03-10T02:28:20.374" v="3" actId="47"/>
        <pc:sldMkLst>
          <pc:docMk/>
          <pc:sldMk cId="1047219928" sldId="295"/>
        </pc:sldMkLst>
      </pc:sldChg>
      <pc:sldChg chg="del">
        <pc:chgData name="Jivani, Yash" userId="d3219360-dc34-4c5d-aaa0-47f172547215" providerId="ADAL" clId="{D9349ACE-9D26-4D25-A0F3-FB66BA60B341}" dt="2023-03-10T02:28:20.374" v="3" actId="47"/>
        <pc:sldMkLst>
          <pc:docMk/>
          <pc:sldMk cId="1582700825" sldId="296"/>
        </pc:sldMkLst>
      </pc:sldChg>
      <pc:sldChg chg="del">
        <pc:chgData name="Jivani, Yash" userId="d3219360-dc34-4c5d-aaa0-47f172547215" providerId="ADAL" clId="{D9349ACE-9D26-4D25-A0F3-FB66BA60B341}" dt="2023-03-10T02:27:53.346" v="0" actId="47"/>
        <pc:sldMkLst>
          <pc:docMk/>
          <pc:sldMk cId="2534075813" sldId="297"/>
        </pc:sldMkLst>
      </pc:sldChg>
      <pc:sldChg chg="del">
        <pc:chgData name="Jivani, Yash" userId="d3219360-dc34-4c5d-aaa0-47f172547215" providerId="ADAL" clId="{D9349ACE-9D26-4D25-A0F3-FB66BA60B341}" dt="2023-03-10T02:27:57.364" v="1" actId="47"/>
        <pc:sldMkLst>
          <pc:docMk/>
          <pc:sldMk cId="1662107885" sldId="298"/>
        </pc:sldMkLst>
      </pc:sldChg>
      <pc:sldChg chg="modSp mod">
        <pc:chgData name="Jivani, Yash" userId="d3219360-dc34-4c5d-aaa0-47f172547215" providerId="ADAL" clId="{D9349ACE-9D26-4D25-A0F3-FB66BA60B341}" dt="2023-03-10T02:29:10.214" v="6" actId="1076"/>
        <pc:sldMkLst>
          <pc:docMk/>
          <pc:sldMk cId="503225009" sldId="304"/>
        </pc:sldMkLst>
        <pc:grpChg chg="mod">
          <ac:chgData name="Jivani, Yash" userId="d3219360-dc34-4c5d-aaa0-47f172547215" providerId="ADAL" clId="{D9349ACE-9D26-4D25-A0F3-FB66BA60B341}" dt="2023-03-10T02:29:10.214" v="6" actId="1076"/>
          <ac:grpSpMkLst>
            <pc:docMk/>
            <pc:sldMk cId="503225009" sldId="304"/>
            <ac:grpSpMk id="4" creationId="{A70662D3-64CB-9426-CA0D-35D016238F55}"/>
          </ac:grpSpMkLst>
        </pc:grpChg>
      </pc:sldChg>
      <pc:sldChg chg="del">
        <pc:chgData name="Jivani, Yash" userId="d3219360-dc34-4c5d-aaa0-47f172547215" providerId="ADAL" clId="{D9349ACE-9D26-4D25-A0F3-FB66BA60B341}" dt="2023-03-10T02:28:07.233" v="2" actId="47"/>
        <pc:sldMkLst>
          <pc:docMk/>
          <pc:sldMk cId="3985600597" sldId="305"/>
        </pc:sldMkLst>
      </pc:sldChg>
      <pc:sldChg chg="del">
        <pc:chgData name="Jivani, Yash" userId="d3219360-dc34-4c5d-aaa0-47f172547215" providerId="ADAL" clId="{D9349ACE-9D26-4D25-A0F3-FB66BA60B341}" dt="2023-03-10T02:28:07.233" v="2" actId="47"/>
        <pc:sldMkLst>
          <pc:docMk/>
          <pc:sldMk cId="3983303221" sldId="306"/>
        </pc:sldMkLst>
      </pc:sldChg>
      <pc:sldChg chg="del">
        <pc:chgData name="Jivani, Yash" userId="d3219360-dc34-4c5d-aaa0-47f172547215" providerId="ADAL" clId="{D9349ACE-9D26-4D25-A0F3-FB66BA60B341}" dt="2023-03-10T02:28:20.374" v="3" actId="47"/>
        <pc:sldMkLst>
          <pc:docMk/>
          <pc:sldMk cId="2116282185" sldId="311"/>
        </pc:sldMkLst>
      </pc:sldChg>
      <pc:sldChg chg="del">
        <pc:chgData name="Jivani, Yash" userId="d3219360-dc34-4c5d-aaa0-47f172547215" providerId="ADAL" clId="{D9349ACE-9D26-4D25-A0F3-FB66BA60B341}" dt="2023-03-10T02:28:20.374" v="3" actId="47"/>
        <pc:sldMkLst>
          <pc:docMk/>
          <pc:sldMk cId="324190258" sldId="312"/>
        </pc:sldMkLst>
      </pc:sldChg>
      <pc:sldChg chg="del">
        <pc:chgData name="Jivani, Yash" userId="d3219360-dc34-4c5d-aaa0-47f172547215" providerId="ADAL" clId="{D9349ACE-9D26-4D25-A0F3-FB66BA60B341}" dt="2023-03-10T02:28:20.374" v="3" actId="47"/>
        <pc:sldMkLst>
          <pc:docMk/>
          <pc:sldMk cId="4252067334" sldId="313"/>
        </pc:sldMkLst>
      </pc:sldChg>
      <pc:sldChg chg="del">
        <pc:chgData name="Jivani, Yash" userId="d3219360-dc34-4c5d-aaa0-47f172547215" providerId="ADAL" clId="{D9349ACE-9D26-4D25-A0F3-FB66BA60B341}" dt="2023-03-10T02:28:07.233" v="2" actId="47"/>
        <pc:sldMkLst>
          <pc:docMk/>
          <pc:sldMk cId="3321170582" sldId="314"/>
        </pc:sldMkLst>
      </pc:sldChg>
      <pc:sldChg chg="del">
        <pc:chgData name="Jivani, Yash" userId="d3219360-dc34-4c5d-aaa0-47f172547215" providerId="ADAL" clId="{D9349ACE-9D26-4D25-A0F3-FB66BA60B341}" dt="2023-03-10T02:28:20.374" v="3" actId="47"/>
        <pc:sldMkLst>
          <pc:docMk/>
          <pc:sldMk cId="3335402709" sldId="315"/>
        </pc:sldMkLst>
      </pc:sldChg>
      <pc:sldChg chg="del">
        <pc:chgData name="Jivani, Yash" userId="d3219360-dc34-4c5d-aaa0-47f172547215" providerId="ADAL" clId="{D9349ACE-9D26-4D25-A0F3-FB66BA60B341}" dt="2023-03-10T02:28:07.233" v="2" actId="47"/>
        <pc:sldMkLst>
          <pc:docMk/>
          <pc:sldMk cId="2326452020" sldId="316"/>
        </pc:sldMkLst>
      </pc:sldChg>
      <pc:sldChg chg="del">
        <pc:chgData name="Jivani, Yash" userId="d3219360-dc34-4c5d-aaa0-47f172547215" providerId="ADAL" clId="{D9349ACE-9D26-4D25-A0F3-FB66BA60B341}" dt="2023-03-10T02:28:07.233" v="2" actId="47"/>
        <pc:sldMkLst>
          <pc:docMk/>
          <pc:sldMk cId="2634027742" sldId="322"/>
        </pc:sldMkLst>
      </pc:sldChg>
      <pc:sldChg chg="del">
        <pc:chgData name="Jivani, Yash" userId="d3219360-dc34-4c5d-aaa0-47f172547215" providerId="ADAL" clId="{D9349ACE-9D26-4D25-A0F3-FB66BA60B341}" dt="2023-03-10T02:28:07.233" v="2" actId="47"/>
        <pc:sldMkLst>
          <pc:docMk/>
          <pc:sldMk cId="3446226999" sldId="323"/>
        </pc:sldMkLst>
      </pc:sldChg>
      <pc:sldChg chg="del">
        <pc:chgData name="Jivani, Yash" userId="d3219360-dc34-4c5d-aaa0-47f172547215" providerId="ADAL" clId="{D9349ACE-9D26-4D25-A0F3-FB66BA60B341}" dt="2023-03-10T02:28:30.945" v="4" actId="47"/>
        <pc:sldMkLst>
          <pc:docMk/>
          <pc:sldMk cId="2451740081" sldId="324"/>
        </pc:sldMkLst>
      </pc:sldChg>
      <pc:sldChg chg="del">
        <pc:chgData name="Jivani, Yash" userId="d3219360-dc34-4c5d-aaa0-47f172547215" providerId="ADAL" clId="{D9349ACE-9D26-4D25-A0F3-FB66BA60B341}" dt="2023-03-10T02:28:07.233" v="2" actId="47"/>
        <pc:sldMkLst>
          <pc:docMk/>
          <pc:sldMk cId="3698816628" sldId="325"/>
        </pc:sldMkLst>
      </pc:sldChg>
      <pc:sldChg chg="del">
        <pc:chgData name="Jivani, Yash" userId="d3219360-dc34-4c5d-aaa0-47f172547215" providerId="ADAL" clId="{D9349ACE-9D26-4D25-A0F3-FB66BA60B341}" dt="2023-03-10T02:28:07.233" v="2" actId="47"/>
        <pc:sldMkLst>
          <pc:docMk/>
          <pc:sldMk cId="211011801" sldId="326"/>
        </pc:sldMkLst>
      </pc:sldChg>
      <pc:sldChg chg="del">
        <pc:chgData name="Jivani, Yash" userId="d3219360-dc34-4c5d-aaa0-47f172547215" providerId="ADAL" clId="{D9349ACE-9D26-4D25-A0F3-FB66BA60B341}" dt="2023-03-10T02:28:07.233" v="2" actId="47"/>
        <pc:sldMkLst>
          <pc:docMk/>
          <pc:sldMk cId="900988194" sldId="327"/>
        </pc:sldMkLst>
      </pc:sldChg>
      <pc:sldChg chg="del">
        <pc:chgData name="Jivani, Yash" userId="d3219360-dc34-4c5d-aaa0-47f172547215" providerId="ADAL" clId="{D9349ACE-9D26-4D25-A0F3-FB66BA60B341}" dt="2023-03-10T02:28:07.233" v="2" actId="47"/>
        <pc:sldMkLst>
          <pc:docMk/>
          <pc:sldMk cId="2773960139" sldId="329"/>
        </pc:sldMkLst>
      </pc:sldChg>
      <pc:sldChg chg="del">
        <pc:chgData name="Jivani, Yash" userId="d3219360-dc34-4c5d-aaa0-47f172547215" providerId="ADAL" clId="{D9349ACE-9D26-4D25-A0F3-FB66BA60B341}" dt="2023-03-10T02:28:30.945" v="4" actId="47"/>
        <pc:sldMkLst>
          <pc:docMk/>
          <pc:sldMk cId="3857659446" sldId="331"/>
        </pc:sldMkLst>
      </pc:sldChg>
      <pc:sldChg chg="del">
        <pc:chgData name="Jivani, Yash" userId="d3219360-dc34-4c5d-aaa0-47f172547215" providerId="ADAL" clId="{D9349ACE-9D26-4D25-A0F3-FB66BA60B341}" dt="2023-03-10T02:28:20.374" v="3" actId="47"/>
        <pc:sldMkLst>
          <pc:docMk/>
          <pc:sldMk cId="2165170525" sldId="332"/>
        </pc:sldMkLst>
      </pc:sldChg>
      <pc:sldChg chg="del">
        <pc:chgData name="Jivani, Yash" userId="d3219360-dc34-4c5d-aaa0-47f172547215" providerId="ADAL" clId="{D9349ACE-9D26-4D25-A0F3-FB66BA60B341}" dt="2023-03-10T02:28:20.374" v="3" actId="47"/>
        <pc:sldMkLst>
          <pc:docMk/>
          <pc:sldMk cId="1801123483" sldId="333"/>
        </pc:sldMkLst>
      </pc:sldChg>
      <pc:sldChg chg="del">
        <pc:chgData name="Jivani, Yash" userId="d3219360-dc34-4c5d-aaa0-47f172547215" providerId="ADAL" clId="{D9349ACE-9D26-4D25-A0F3-FB66BA60B341}" dt="2023-03-10T02:28:20.374" v="3" actId="47"/>
        <pc:sldMkLst>
          <pc:docMk/>
          <pc:sldMk cId="3687941771" sldId="334"/>
        </pc:sldMkLst>
      </pc:sldChg>
      <pc:sldChg chg="del">
        <pc:chgData name="Jivani, Yash" userId="d3219360-dc34-4c5d-aaa0-47f172547215" providerId="ADAL" clId="{D9349ACE-9D26-4D25-A0F3-FB66BA60B341}" dt="2023-03-10T02:28:07.233" v="2" actId="47"/>
        <pc:sldMkLst>
          <pc:docMk/>
          <pc:sldMk cId="2285786455" sldId="335"/>
        </pc:sldMkLst>
      </pc:sldChg>
      <pc:sldChg chg="del">
        <pc:chgData name="Jivani, Yash" userId="d3219360-dc34-4c5d-aaa0-47f172547215" providerId="ADAL" clId="{D9349ACE-9D26-4D25-A0F3-FB66BA60B341}" dt="2023-03-10T02:28:20.374" v="3" actId="47"/>
        <pc:sldMkLst>
          <pc:docMk/>
          <pc:sldMk cId="494636979" sldId="336"/>
        </pc:sldMkLst>
      </pc:sldChg>
      <pc:sldMasterChg chg="del delSldLayout">
        <pc:chgData name="Jivani, Yash" userId="d3219360-dc34-4c5d-aaa0-47f172547215" providerId="ADAL" clId="{D9349ACE-9D26-4D25-A0F3-FB66BA60B341}" dt="2023-03-10T02:28:20.374" v="3" actId="47"/>
        <pc:sldMasterMkLst>
          <pc:docMk/>
          <pc:sldMasterMk cId="223734147" sldId="2147483720"/>
        </pc:sldMasterMkLst>
        <pc:sldLayoutChg chg="del">
          <pc:chgData name="Jivani, Yash" userId="d3219360-dc34-4c5d-aaa0-47f172547215" providerId="ADAL" clId="{D9349ACE-9D26-4D25-A0F3-FB66BA60B341}" dt="2023-03-10T02:28:20.374" v="3" actId="47"/>
          <pc:sldLayoutMkLst>
            <pc:docMk/>
            <pc:sldMasterMk cId="223734147" sldId="2147483720"/>
            <pc:sldLayoutMk cId="2630504689" sldId="2147483721"/>
          </pc:sldLayoutMkLst>
        </pc:sldLayoutChg>
        <pc:sldLayoutChg chg="del">
          <pc:chgData name="Jivani, Yash" userId="d3219360-dc34-4c5d-aaa0-47f172547215" providerId="ADAL" clId="{D9349ACE-9D26-4D25-A0F3-FB66BA60B341}" dt="2023-03-10T02:28:20.374" v="3" actId="47"/>
          <pc:sldLayoutMkLst>
            <pc:docMk/>
            <pc:sldMasterMk cId="223734147" sldId="2147483720"/>
            <pc:sldLayoutMk cId="4066902993" sldId="2147483722"/>
          </pc:sldLayoutMkLst>
        </pc:sldLayoutChg>
        <pc:sldLayoutChg chg="del">
          <pc:chgData name="Jivani, Yash" userId="d3219360-dc34-4c5d-aaa0-47f172547215" providerId="ADAL" clId="{D9349ACE-9D26-4D25-A0F3-FB66BA60B341}" dt="2023-03-10T02:28:20.374" v="3" actId="47"/>
          <pc:sldLayoutMkLst>
            <pc:docMk/>
            <pc:sldMasterMk cId="223734147" sldId="2147483720"/>
            <pc:sldLayoutMk cId="4182236320" sldId="2147483723"/>
          </pc:sldLayoutMkLst>
        </pc:sldLayoutChg>
        <pc:sldLayoutChg chg="del">
          <pc:chgData name="Jivani, Yash" userId="d3219360-dc34-4c5d-aaa0-47f172547215" providerId="ADAL" clId="{D9349ACE-9D26-4D25-A0F3-FB66BA60B341}" dt="2023-03-10T02:28:20.374" v="3" actId="47"/>
          <pc:sldLayoutMkLst>
            <pc:docMk/>
            <pc:sldMasterMk cId="223734147" sldId="2147483720"/>
            <pc:sldLayoutMk cId="2453779720" sldId="2147483724"/>
          </pc:sldLayoutMkLst>
        </pc:sldLayoutChg>
        <pc:sldLayoutChg chg="del">
          <pc:chgData name="Jivani, Yash" userId="d3219360-dc34-4c5d-aaa0-47f172547215" providerId="ADAL" clId="{D9349ACE-9D26-4D25-A0F3-FB66BA60B341}" dt="2023-03-10T02:28:20.374" v="3" actId="47"/>
          <pc:sldLayoutMkLst>
            <pc:docMk/>
            <pc:sldMasterMk cId="223734147" sldId="2147483720"/>
            <pc:sldLayoutMk cId="4172786190" sldId="2147483725"/>
          </pc:sldLayoutMkLst>
        </pc:sldLayoutChg>
        <pc:sldLayoutChg chg="del">
          <pc:chgData name="Jivani, Yash" userId="d3219360-dc34-4c5d-aaa0-47f172547215" providerId="ADAL" clId="{D9349ACE-9D26-4D25-A0F3-FB66BA60B341}" dt="2023-03-10T02:28:20.374" v="3" actId="47"/>
          <pc:sldLayoutMkLst>
            <pc:docMk/>
            <pc:sldMasterMk cId="223734147" sldId="2147483720"/>
            <pc:sldLayoutMk cId="476732089" sldId="2147483726"/>
          </pc:sldLayoutMkLst>
        </pc:sldLayoutChg>
        <pc:sldLayoutChg chg="del">
          <pc:chgData name="Jivani, Yash" userId="d3219360-dc34-4c5d-aaa0-47f172547215" providerId="ADAL" clId="{D9349ACE-9D26-4D25-A0F3-FB66BA60B341}" dt="2023-03-10T02:28:20.374" v="3" actId="47"/>
          <pc:sldLayoutMkLst>
            <pc:docMk/>
            <pc:sldMasterMk cId="223734147" sldId="2147483720"/>
            <pc:sldLayoutMk cId="1163251623" sldId="2147483727"/>
          </pc:sldLayoutMkLst>
        </pc:sldLayoutChg>
        <pc:sldLayoutChg chg="del">
          <pc:chgData name="Jivani, Yash" userId="d3219360-dc34-4c5d-aaa0-47f172547215" providerId="ADAL" clId="{D9349ACE-9D26-4D25-A0F3-FB66BA60B341}" dt="2023-03-10T02:28:20.374" v="3" actId="47"/>
          <pc:sldLayoutMkLst>
            <pc:docMk/>
            <pc:sldMasterMk cId="223734147" sldId="2147483720"/>
            <pc:sldLayoutMk cId="3062354286" sldId="2147483728"/>
          </pc:sldLayoutMkLst>
        </pc:sldLayoutChg>
        <pc:sldLayoutChg chg="del">
          <pc:chgData name="Jivani, Yash" userId="d3219360-dc34-4c5d-aaa0-47f172547215" providerId="ADAL" clId="{D9349ACE-9D26-4D25-A0F3-FB66BA60B341}" dt="2023-03-10T02:28:20.374" v="3" actId="47"/>
          <pc:sldLayoutMkLst>
            <pc:docMk/>
            <pc:sldMasterMk cId="223734147" sldId="2147483720"/>
            <pc:sldLayoutMk cId="1185678173" sldId="2147483729"/>
          </pc:sldLayoutMkLst>
        </pc:sldLayoutChg>
        <pc:sldLayoutChg chg="del">
          <pc:chgData name="Jivani, Yash" userId="d3219360-dc34-4c5d-aaa0-47f172547215" providerId="ADAL" clId="{D9349ACE-9D26-4D25-A0F3-FB66BA60B341}" dt="2023-03-10T02:28:20.374" v="3" actId="47"/>
          <pc:sldLayoutMkLst>
            <pc:docMk/>
            <pc:sldMasterMk cId="223734147" sldId="2147483720"/>
            <pc:sldLayoutMk cId="943477746" sldId="2147483730"/>
          </pc:sldLayoutMkLst>
        </pc:sldLayoutChg>
        <pc:sldLayoutChg chg="del">
          <pc:chgData name="Jivani, Yash" userId="d3219360-dc34-4c5d-aaa0-47f172547215" providerId="ADAL" clId="{D9349ACE-9D26-4D25-A0F3-FB66BA60B341}" dt="2023-03-10T02:28:20.374" v="3" actId="47"/>
          <pc:sldLayoutMkLst>
            <pc:docMk/>
            <pc:sldMasterMk cId="223734147" sldId="2147483720"/>
            <pc:sldLayoutMk cId="2041544353" sldId="2147483731"/>
          </pc:sldLayoutMkLst>
        </pc:sldLayoutChg>
      </pc:sldMasterChg>
    </pc:docChg>
  </pc:docChgLst>
  <pc:docChgLst>
    <pc:chgData name="Jadhav, Mr. Vicky" userId="S::vj54818n@pace.edu::3922eaf5-9e27-41b1-b805-d385d1955774" providerId="AD" clId="Web-{8DC70DDE-CC43-799D-A56A-202A144E247B}"/>
    <pc:docChg chg="addSld modSld">
      <pc:chgData name="Jadhav, Mr. Vicky" userId="S::vj54818n@pace.edu::3922eaf5-9e27-41b1-b805-d385d1955774" providerId="AD" clId="Web-{8DC70DDE-CC43-799D-A56A-202A144E247B}" dt="2023-03-08T17:57:41.138" v="65" actId="14100"/>
      <pc:docMkLst>
        <pc:docMk/>
      </pc:docMkLst>
      <pc:sldChg chg="addSp delSp modSp new">
        <pc:chgData name="Jadhav, Mr. Vicky" userId="S::vj54818n@pace.edu::3922eaf5-9e27-41b1-b805-d385d1955774" providerId="AD" clId="Web-{8DC70DDE-CC43-799D-A56A-202A144E247B}" dt="2023-03-08T17:45:27.258" v="12" actId="14100"/>
        <pc:sldMkLst>
          <pc:docMk/>
          <pc:sldMk cId="2321150037" sldId="309"/>
        </pc:sldMkLst>
        <pc:spChg chg="del">
          <ac:chgData name="Jadhav, Mr. Vicky" userId="S::vj54818n@pace.edu::3922eaf5-9e27-41b1-b805-d385d1955774" providerId="AD" clId="Web-{8DC70DDE-CC43-799D-A56A-202A144E247B}" dt="2023-03-08T17:42:04.112" v="1"/>
          <ac:spMkLst>
            <pc:docMk/>
            <pc:sldMk cId="2321150037" sldId="309"/>
            <ac:spMk id="3" creationId="{CB20ADD2-1211-5600-AE7E-AF6CBE8B97FA}"/>
          </ac:spMkLst>
        </pc:spChg>
        <pc:spChg chg="add del mod">
          <ac:chgData name="Jadhav, Mr. Vicky" userId="S::vj54818n@pace.edu::3922eaf5-9e27-41b1-b805-d385d1955774" providerId="AD" clId="Web-{8DC70DDE-CC43-799D-A56A-202A144E247B}" dt="2023-03-08T17:45:08.445" v="8"/>
          <ac:spMkLst>
            <pc:docMk/>
            <pc:sldMk cId="2321150037" sldId="309"/>
            <ac:spMk id="6" creationId="{D75119CC-658A-33DE-B7E3-5B6AF7ACA527}"/>
          </ac:spMkLst>
        </pc:spChg>
        <pc:picChg chg="add del mod ord">
          <ac:chgData name="Jadhav, Mr. Vicky" userId="S::vj54818n@pace.edu::3922eaf5-9e27-41b1-b805-d385d1955774" providerId="AD" clId="Web-{8DC70DDE-CC43-799D-A56A-202A144E247B}" dt="2023-03-08T17:42:40.910" v="7"/>
          <ac:picMkLst>
            <pc:docMk/>
            <pc:sldMk cId="2321150037" sldId="309"/>
            <ac:picMk id="4" creationId="{2A41E5C2-5AA6-2709-19B6-6E6A5EEF1646}"/>
          </ac:picMkLst>
        </pc:picChg>
        <pc:picChg chg="add mod ord">
          <ac:chgData name="Jadhav, Mr. Vicky" userId="S::vj54818n@pace.edu::3922eaf5-9e27-41b1-b805-d385d1955774" providerId="AD" clId="Web-{8DC70DDE-CC43-799D-A56A-202A144E247B}" dt="2023-03-08T17:45:27.258" v="12" actId="14100"/>
          <ac:picMkLst>
            <pc:docMk/>
            <pc:sldMk cId="2321150037" sldId="309"/>
            <ac:picMk id="7" creationId="{AE1B19F9-DA5E-4609-653B-E5C7D998DF97}"/>
          </ac:picMkLst>
        </pc:picChg>
      </pc:sldChg>
      <pc:sldChg chg="addSp delSp modSp new">
        <pc:chgData name="Jadhav, Mr. Vicky" userId="S::vj54818n@pace.edu::3922eaf5-9e27-41b1-b805-d385d1955774" providerId="AD" clId="Web-{8DC70DDE-CC43-799D-A56A-202A144E247B}" dt="2023-03-08T17:57:41.138" v="65" actId="14100"/>
        <pc:sldMkLst>
          <pc:docMk/>
          <pc:sldMk cId="3282460979" sldId="310"/>
        </pc:sldMkLst>
        <pc:spChg chg="del">
          <ac:chgData name="Jadhav, Mr. Vicky" userId="S::vj54818n@pace.edu::3922eaf5-9e27-41b1-b805-d385d1955774" providerId="AD" clId="Web-{8DC70DDE-CC43-799D-A56A-202A144E247B}" dt="2023-03-08T17:45:52.228" v="14"/>
          <ac:spMkLst>
            <pc:docMk/>
            <pc:sldMk cId="3282460979" sldId="310"/>
            <ac:spMk id="3" creationId="{5D4009F8-449D-D71A-ABB4-CF22B070BF83}"/>
          </ac:spMkLst>
        </pc:spChg>
        <pc:spChg chg="add del mod">
          <ac:chgData name="Jadhav, Mr. Vicky" userId="S::vj54818n@pace.edu::3922eaf5-9e27-41b1-b805-d385d1955774" providerId="AD" clId="Web-{8DC70DDE-CC43-799D-A56A-202A144E247B}" dt="2023-03-08T17:49:07.296" v="34"/>
          <ac:spMkLst>
            <pc:docMk/>
            <pc:sldMk cId="3282460979" sldId="310"/>
            <ac:spMk id="6" creationId="{EC747184-499F-3016-1A46-B37A9A8E9FCA}"/>
          </ac:spMkLst>
        </pc:spChg>
        <pc:spChg chg="add del mod">
          <ac:chgData name="Jadhav, Mr. Vicky" userId="S::vj54818n@pace.edu::3922eaf5-9e27-41b1-b805-d385d1955774" providerId="AD" clId="Web-{8DC70DDE-CC43-799D-A56A-202A144E247B}" dt="2023-03-08T17:56:35.324" v="44"/>
          <ac:spMkLst>
            <pc:docMk/>
            <pc:sldMk cId="3282460979" sldId="310"/>
            <ac:spMk id="9" creationId="{8B36A576-73AD-6500-6A4C-431E3BFFAD44}"/>
          </ac:spMkLst>
        </pc:spChg>
        <pc:picChg chg="add del mod ord">
          <ac:chgData name="Jadhav, Mr. Vicky" userId="S::vj54818n@pace.edu::3922eaf5-9e27-41b1-b805-d385d1955774" providerId="AD" clId="Web-{8DC70DDE-CC43-799D-A56A-202A144E247B}" dt="2023-03-08T17:48:48.780" v="30"/>
          <ac:picMkLst>
            <pc:docMk/>
            <pc:sldMk cId="3282460979" sldId="310"/>
            <ac:picMk id="4" creationId="{2F002C6F-D7ED-40F5-DF77-580380990366}"/>
          </ac:picMkLst>
        </pc:picChg>
        <pc:picChg chg="add del mod ord">
          <ac:chgData name="Jadhav, Mr. Vicky" userId="S::vj54818n@pace.edu::3922eaf5-9e27-41b1-b805-d385d1955774" providerId="AD" clId="Web-{8DC70DDE-CC43-799D-A56A-202A144E247B}" dt="2023-03-08T17:49:32.937" v="40"/>
          <ac:picMkLst>
            <pc:docMk/>
            <pc:sldMk cId="3282460979" sldId="310"/>
            <ac:picMk id="7" creationId="{FC21F9F1-33BB-5A74-A077-CD2DABEFB048}"/>
          </ac:picMkLst>
        </pc:picChg>
        <pc:picChg chg="add mod ord">
          <ac:chgData name="Jadhav, Mr. Vicky" userId="S::vj54818n@pace.edu::3922eaf5-9e27-41b1-b805-d385d1955774" providerId="AD" clId="Web-{8DC70DDE-CC43-799D-A56A-202A144E247B}" dt="2023-03-08T17:57:41.138" v="65" actId="14100"/>
          <ac:picMkLst>
            <pc:docMk/>
            <pc:sldMk cId="3282460979" sldId="310"/>
            <ac:picMk id="10" creationId="{47E5AC2C-E201-ECD9-2C00-9B93FBF5799B}"/>
          </ac:picMkLst>
        </pc:picChg>
      </pc:sldChg>
      <pc:sldChg chg="addSp delSp modSp new">
        <pc:chgData name="Jadhav, Mr. Vicky" userId="S::vj54818n@pace.edu::3922eaf5-9e27-41b1-b805-d385d1955774" providerId="AD" clId="Web-{8DC70DDE-CC43-799D-A56A-202A144E247B}" dt="2023-03-08T17:57:26.356" v="61" actId="14100"/>
        <pc:sldMkLst>
          <pc:docMk/>
          <pc:sldMk cId="2116282185" sldId="311"/>
        </pc:sldMkLst>
        <pc:spChg chg="del">
          <ac:chgData name="Jadhav, Mr. Vicky" userId="S::vj54818n@pace.edu::3922eaf5-9e27-41b1-b805-d385d1955774" providerId="AD" clId="Web-{8DC70DDE-CC43-799D-A56A-202A144E247B}" dt="2023-03-08T17:45:58.728" v="16"/>
          <ac:spMkLst>
            <pc:docMk/>
            <pc:sldMk cId="2116282185" sldId="311"/>
            <ac:spMk id="3" creationId="{F32DE65D-1137-BF1D-2BB7-31623140AE53}"/>
          </ac:spMkLst>
        </pc:spChg>
        <pc:spChg chg="add del mod">
          <ac:chgData name="Jadhav, Mr. Vicky" userId="S::vj54818n@pace.edu::3922eaf5-9e27-41b1-b805-d385d1955774" providerId="AD" clId="Web-{8DC70DDE-CC43-799D-A56A-202A144E247B}" dt="2023-03-08T17:49:09.968" v="35"/>
          <ac:spMkLst>
            <pc:docMk/>
            <pc:sldMk cId="2116282185" sldId="311"/>
            <ac:spMk id="6" creationId="{DD4D5DE1-A6DB-8255-91DF-D8B7F4868D58}"/>
          </ac:spMkLst>
        </pc:spChg>
        <pc:spChg chg="add del mod">
          <ac:chgData name="Jadhav, Mr. Vicky" userId="S::vj54818n@pace.edu::3922eaf5-9e27-41b1-b805-d385d1955774" providerId="AD" clId="Web-{8DC70DDE-CC43-799D-A56A-202A144E247B}" dt="2023-03-08T17:56:38.418" v="45"/>
          <ac:spMkLst>
            <pc:docMk/>
            <pc:sldMk cId="2116282185" sldId="311"/>
            <ac:spMk id="9" creationId="{7A553ABF-3787-CEFD-4D11-7F3C2296959F}"/>
          </ac:spMkLst>
        </pc:spChg>
        <pc:picChg chg="add del mod ord">
          <ac:chgData name="Jadhav, Mr. Vicky" userId="S::vj54818n@pace.edu::3922eaf5-9e27-41b1-b805-d385d1955774" providerId="AD" clId="Web-{8DC70DDE-CC43-799D-A56A-202A144E247B}" dt="2023-03-08T17:48:51.889" v="31"/>
          <ac:picMkLst>
            <pc:docMk/>
            <pc:sldMk cId="2116282185" sldId="311"/>
            <ac:picMk id="4" creationId="{9F5B129A-6383-0E33-807B-3A6610F75BB5}"/>
          </ac:picMkLst>
        </pc:picChg>
        <pc:picChg chg="add del mod ord">
          <ac:chgData name="Jadhav, Mr. Vicky" userId="S::vj54818n@pace.edu::3922eaf5-9e27-41b1-b805-d385d1955774" providerId="AD" clId="Web-{8DC70DDE-CC43-799D-A56A-202A144E247B}" dt="2023-03-08T17:49:37.640" v="41"/>
          <ac:picMkLst>
            <pc:docMk/>
            <pc:sldMk cId="2116282185" sldId="311"/>
            <ac:picMk id="7" creationId="{9164B78F-B693-2D0A-A805-41BBEDF7E183}"/>
          </ac:picMkLst>
        </pc:picChg>
        <pc:picChg chg="add mod ord">
          <ac:chgData name="Jadhav, Mr. Vicky" userId="S::vj54818n@pace.edu::3922eaf5-9e27-41b1-b805-d385d1955774" providerId="AD" clId="Web-{8DC70DDE-CC43-799D-A56A-202A144E247B}" dt="2023-03-08T17:57:26.356" v="61" actId="14100"/>
          <ac:picMkLst>
            <pc:docMk/>
            <pc:sldMk cId="2116282185" sldId="311"/>
            <ac:picMk id="10" creationId="{64FA8338-490D-6C26-4FFE-998BA89D3344}"/>
          </ac:picMkLst>
        </pc:picChg>
      </pc:sldChg>
      <pc:sldChg chg="addSp delSp modSp new">
        <pc:chgData name="Jadhav, Mr. Vicky" userId="S::vj54818n@pace.edu::3922eaf5-9e27-41b1-b805-d385d1955774" providerId="AD" clId="Web-{8DC70DDE-CC43-799D-A56A-202A144E247B}" dt="2023-03-08T17:57:19.762" v="59" actId="14100"/>
        <pc:sldMkLst>
          <pc:docMk/>
          <pc:sldMk cId="324190258" sldId="312"/>
        </pc:sldMkLst>
        <pc:spChg chg="del">
          <ac:chgData name="Jadhav, Mr. Vicky" userId="S::vj54818n@pace.edu::3922eaf5-9e27-41b1-b805-d385d1955774" providerId="AD" clId="Web-{8DC70DDE-CC43-799D-A56A-202A144E247B}" dt="2023-03-08T17:46:03.666" v="18"/>
          <ac:spMkLst>
            <pc:docMk/>
            <pc:sldMk cId="324190258" sldId="312"/>
            <ac:spMk id="3" creationId="{CF5F3536-32D5-AEA3-F490-86679D108E78}"/>
          </ac:spMkLst>
        </pc:spChg>
        <pc:spChg chg="add del mod">
          <ac:chgData name="Jadhav, Mr. Vicky" userId="S::vj54818n@pace.edu::3922eaf5-9e27-41b1-b805-d385d1955774" providerId="AD" clId="Web-{8DC70DDE-CC43-799D-A56A-202A144E247B}" dt="2023-03-08T17:49:13.983" v="36"/>
          <ac:spMkLst>
            <pc:docMk/>
            <pc:sldMk cId="324190258" sldId="312"/>
            <ac:spMk id="6" creationId="{D681D8DF-3DE2-BEC3-70AE-7B32DD1AC24E}"/>
          </ac:spMkLst>
        </pc:spChg>
        <pc:spChg chg="add del mod">
          <ac:chgData name="Jadhav, Mr. Vicky" userId="S::vj54818n@pace.edu::3922eaf5-9e27-41b1-b805-d385d1955774" providerId="AD" clId="Web-{8DC70DDE-CC43-799D-A56A-202A144E247B}" dt="2023-03-08T17:56:40.042" v="46"/>
          <ac:spMkLst>
            <pc:docMk/>
            <pc:sldMk cId="324190258" sldId="312"/>
            <ac:spMk id="9" creationId="{9BDB272D-CC81-4D7F-E194-E3201006C57A}"/>
          </ac:spMkLst>
        </pc:spChg>
        <pc:picChg chg="add del mod ord">
          <ac:chgData name="Jadhav, Mr. Vicky" userId="S::vj54818n@pace.edu::3922eaf5-9e27-41b1-b805-d385d1955774" providerId="AD" clId="Web-{8DC70DDE-CC43-799D-A56A-202A144E247B}" dt="2023-03-08T17:48:54.842" v="32"/>
          <ac:picMkLst>
            <pc:docMk/>
            <pc:sldMk cId="324190258" sldId="312"/>
            <ac:picMk id="4" creationId="{E8F5BDF0-8ACA-D031-5E99-03DF093DF6ED}"/>
          </ac:picMkLst>
        </pc:picChg>
        <pc:picChg chg="add del mod ord">
          <ac:chgData name="Jadhav, Mr. Vicky" userId="S::vj54818n@pace.edu::3922eaf5-9e27-41b1-b805-d385d1955774" providerId="AD" clId="Web-{8DC70DDE-CC43-799D-A56A-202A144E247B}" dt="2023-03-08T17:49:40.390" v="42"/>
          <ac:picMkLst>
            <pc:docMk/>
            <pc:sldMk cId="324190258" sldId="312"/>
            <ac:picMk id="7" creationId="{1F1057E3-231A-2322-8C6A-DF8E55D7D3B0}"/>
          </ac:picMkLst>
        </pc:picChg>
        <pc:picChg chg="add mod ord">
          <ac:chgData name="Jadhav, Mr. Vicky" userId="S::vj54818n@pace.edu::3922eaf5-9e27-41b1-b805-d385d1955774" providerId="AD" clId="Web-{8DC70DDE-CC43-799D-A56A-202A144E247B}" dt="2023-03-08T17:57:19.762" v="59" actId="14100"/>
          <ac:picMkLst>
            <pc:docMk/>
            <pc:sldMk cId="324190258" sldId="312"/>
            <ac:picMk id="10" creationId="{45404B9D-D668-66DA-BD01-84144F18B37B}"/>
          </ac:picMkLst>
        </pc:picChg>
      </pc:sldChg>
      <pc:sldChg chg="addSp delSp modSp new">
        <pc:chgData name="Jadhav, Mr. Vicky" userId="S::vj54818n@pace.edu::3922eaf5-9e27-41b1-b805-d385d1955774" providerId="AD" clId="Web-{8DC70DDE-CC43-799D-A56A-202A144E247B}" dt="2023-03-08T17:57:12.543" v="57" actId="14100"/>
        <pc:sldMkLst>
          <pc:docMk/>
          <pc:sldMk cId="4252067334" sldId="313"/>
        </pc:sldMkLst>
        <pc:spChg chg="del">
          <ac:chgData name="Jadhav, Mr. Vicky" userId="S::vj54818n@pace.edu::3922eaf5-9e27-41b1-b805-d385d1955774" providerId="AD" clId="Web-{8DC70DDE-CC43-799D-A56A-202A144E247B}" dt="2023-03-08T17:46:08.713" v="20"/>
          <ac:spMkLst>
            <pc:docMk/>
            <pc:sldMk cId="4252067334" sldId="313"/>
            <ac:spMk id="3" creationId="{05804116-4753-5AFA-D4CF-36BEF3850033}"/>
          </ac:spMkLst>
        </pc:spChg>
        <pc:spChg chg="add del mod">
          <ac:chgData name="Jadhav, Mr. Vicky" userId="S::vj54818n@pace.edu::3922eaf5-9e27-41b1-b805-d385d1955774" providerId="AD" clId="Web-{8DC70DDE-CC43-799D-A56A-202A144E247B}" dt="2023-03-08T17:49:16.483" v="37"/>
          <ac:spMkLst>
            <pc:docMk/>
            <pc:sldMk cId="4252067334" sldId="313"/>
            <ac:spMk id="6" creationId="{BC11B04B-BB21-7CAB-41D5-553136735B0F}"/>
          </ac:spMkLst>
        </pc:spChg>
        <pc:spChg chg="add del mod">
          <ac:chgData name="Jadhav, Mr. Vicky" userId="S::vj54818n@pace.edu::3922eaf5-9e27-41b1-b805-d385d1955774" providerId="AD" clId="Web-{8DC70DDE-CC43-799D-A56A-202A144E247B}" dt="2023-03-08T17:56:44.543" v="47"/>
          <ac:spMkLst>
            <pc:docMk/>
            <pc:sldMk cId="4252067334" sldId="313"/>
            <ac:spMk id="9" creationId="{DE6AC479-10E0-80EC-9D5D-B5D3CBA53E45}"/>
          </ac:spMkLst>
        </pc:spChg>
        <pc:picChg chg="add del mod ord">
          <ac:chgData name="Jadhav, Mr. Vicky" userId="S::vj54818n@pace.edu::3922eaf5-9e27-41b1-b805-d385d1955774" providerId="AD" clId="Web-{8DC70DDE-CC43-799D-A56A-202A144E247B}" dt="2023-03-08T17:48:57.686" v="33"/>
          <ac:picMkLst>
            <pc:docMk/>
            <pc:sldMk cId="4252067334" sldId="313"/>
            <ac:picMk id="4" creationId="{E9CD85AA-2975-4D2A-4932-6817A1DB74A9}"/>
          </ac:picMkLst>
        </pc:picChg>
        <pc:picChg chg="add del mod ord">
          <ac:chgData name="Jadhav, Mr. Vicky" userId="S::vj54818n@pace.edu::3922eaf5-9e27-41b1-b805-d385d1955774" providerId="AD" clId="Web-{8DC70DDE-CC43-799D-A56A-202A144E247B}" dt="2023-03-08T17:49:43.422" v="43"/>
          <ac:picMkLst>
            <pc:docMk/>
            <pc:sldMk cId="4252067334" sldId="313"/>
            <ac:picMk id="7" creationId="{CD4FB83F-59A4-1F04-B3B6-2394548F8B89}"/>
          </ac:picMkLst>
        </pc:picChg>
        <pc:picChg chg="add mod ord">
          <ac:chgData name="Jadhav, Mr. Vicky" userId="S::vj54818n@pace.edu::3922eaf5-9e27-41b1-b805-d385d1955774" providerId="AD" clId="Web-{8DC70DDE-CC43-799D-A56A-202A144E247B}" dt="2023-03-08T17:57:12.543" v="57" actId="14100"/>
          <ac:picMkLst>
            <pc:docMk/>
            <pc:sldMk cId="4252067334" sldId="313"/>
            <ac:picMk id="10" creationId="{D51D8908-2C12-6055-4142-332119A34C02}"/>
          </ac:picMkLst>
        </pc:picChg>
      </pc:sldChg>
      <pc:sldChg chg="addSp delSp modSp new">
        <pc:chgData name="Jadhav, Mr. Vicky" userId="S::vj54818n@pace.edu::3922eaf5-9e27-41b1-b805-d385d1955774" providerId="AD" clId="Web-{8DC70DDE-CC43-799D-A56A-202A144E247B}" dt="2023-03-08T17:57:05.481" v="55" actId="14100"/>
        <pc:sldMkLst>
          <pc:docMk/>
          <pc:sldMk cId="3335402709" sldId="315"/>
        </pc:sldMkLst>
        <pc:spChg chg="mod">
          <ac:chgData name="Jadhav, Mr. Vicky" userId="S::vj54818n@pace.edu::3922eaf5-9e27-41b1-b805-d385d1955774" providerId="AD" clId="Web-{8DC70DDE-CC43-799D-A56A-202A144E247B}" dt="2023-03-08T17:57:02.902" v="54" actId="14100"/>
          <ac:spMkLst>
            <pc:docMk/>
            <pc:sldMk cId="3335402709" sldId="315"/>
            <ac:spMk id="2" creationId="{B610D19B-8F67-C848-4B2B-87489CAF773E}"/>
          </ac:spMkLst>
        </pc:spChg>
        <pc:spChg chg="del">
          <ac:chgData name="Jadhav, Mr. Vicky" userId="S::vj54818n@pace.edu::3922eaf5-9e27-41b1-b805-d385d1955774" providerId="AD" clId="Web-{8DC70DDE-CC43-799D-A56A-202A144E247B}" dt="2023-03-08T17:56:48.340" v="48"/>
          <ac:spMkLst>
            <pc:docMk/>
            <pc:sldMk cId="3335402709" sldId="315"/>
            <ac:spMk id="3" creationId="{1F0CE5E0-27F4-7AA9-9656-AC4903716229}"/>
          </ac:spMkLst>
        </pc:spChg>
        <pc:picChg chg="add mod ord">
          <ac:chgData name="Jadhav, Mr. Vicky" userId="S::vj54818n@pace.edu::3922eaf5-9e27-41b1-b805-d385d1955774" providerId="AD" clId="Web-{8DC70DDE-CC43-799D-A56A-202A144E247B}" dt="2023-03-08T17:57:05.481" v="55" actId="14100"/>
          <ac:picMkLst>
            <pc:docMk/>
            <pc:sldMk cId="3335402709" sldId="315"/>
            <ac:picMk id="4" creationId="{C35459A0-30F2-913C-55F2-FA8DEFD5F607}"/>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D499774-8DB9-A5C2-D506-EB917CE229BD}"/>
              </a:ext>
            </a:extLst>
          </p:cNvPr>
          <p:cNvSpPr>
            <a:spLocks noGrp="1"/>
          </p:cNvSpPr>
          <p:nvPr>
            <p:ph type="hdr" sz="quarter"/>
          </p:nvPr>
        </p:nvSpPr>
        <p:spPr>
          <a:xfrm>
            <a:off x="0" y="1"/>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D617FE89-89EE-FE2D-30BB-14EC49944477}"/>
              </a:ext>
            </a:extLst>
          </p:cNvPr>
          <p:cNvSpPr>
            <a:spLocks noGrp="1"/>
          </p:cNvSpPr>
          <p:nvPr>
            <p:ph type="dt" sz="quarter" idx="1"/>
          </p:nvPr>
        </p:nvSpPr>
        <p:spPr>
          <a:xfrm>
            <a:off x="3884613" y="1"/>
            <a:ext cx="2971800" cy="458788"/>
          </a:xfrm>
          <a:prstGeom prst="rect">
            <a:avLst/>
          </a:prstGeom>
        </p:spPr>
        <p:txBody>
          <a:bodyPr vert="horz" lIns="91440" tIns="45720" rIns="91440" bIns="45720" rtlCol="0"/>
          <a:lstStyle>
            <a:lvl1pPr algn="r">
              <a:defRPr sz="1200"/>
            </a:lvl1pPr>
          </a:lstStyle>
          <a:p>
            <a:fld id="{E8B20CA2-F800-480B-9692-7AB52B1BB4DF}" type="datetimeFigureOut">
              <a:rPr lang="en-US" smtClean="0"/>
              <a:t>3/9/2023</a:t>
            </a:fld>
            <a:endParaRPr lang="en-US"/>
          </a:p>
        </p:txBody>
      </p:sp>
      <p:sp>
        <p:nvSpPr>
          <p:cNvPr id="4" name="Footer Placeholder 3">
            <a:extLst>
              <a:ext uri="{FF2B5EF4-FFF2-40B4-BE49-F238E27FC236}">
                <a16:creationId xmlns:a16="http://schemas.microsoft.com/office/drawing/2014/main" id="{145B252C-0CFB-7635-8CC8-2F894D19A1B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076F67E7-06CD-33B0-1C7E-2B167DD87BF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B1D79D3-0CAE-4BDF-AC6E-5F8B503CB38D}" type="slidenum">
              <a:rPr lang="en-US" smtClean="0"/>
              <a:t>‹#›</a:t>
            </a:fld>
            <a:endParaRPr lang="en-US"/>
          </a:p>
        </p:txBody>
      </p:sp>
    </p:spTree>
    <p:extLst>
      <p:ext uri="{BB962C8B-B14F-4D97-AF65-F5344CB8AC3E}">
        <p14:creationId xmlns:p14="http://schemas.microsoft.com/office/powerpoint/2010/main" val="299354178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1"/>
            <a:ext cx="2971800" cy="458788"/>
          </a:xfrm>
          <a:prstGeom prst="rect">
            <a:avLst/>
          </a:prstGeom>
        </p:spPr>
        <p:txBody>
          <a:bodyPr vert="horz" lIns="91440" tIns="45720" rIns="91440" bIns="45720" rtlCol="0"/>
          <a:lstStyle>
            <a:lvl1pPr algn="r">
              <a:defRPr sz="1200"/>
            </a:lvl1pPr>
          </a:lstStyle>
          <a:p>
            <a:fld id="{45A3AC1F-4B5A-4E1B-AF06-8C16A8E46274}" type="datetimeFigureOut">
              <a:rPr lang="en-US" smtClean="0"/>
              <a:t>3/9/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49"/>
            <a:ext cx="5486400" cy="360045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4E057AF-B50A-462F-987E-5E06E6E6A382}" type="slidenum">
              <a:rPr lang="en-US" smtClean="0"/>
              <a:t>‹#›</a:t>
            </a:fld>
            <a:endParaRPr lang="en-US"/>
          </a:p>
        </p:txBody>
      </p:sp>
    </p:spTree>
    <p:extLst>
      <p:ext uri="{BB962C8B-B14F-4D97-AF65-F5344CB8AC3E}">
        <p14:creationId xmlns:p14="http://schemas.microsoft.com/office/powerpoint/2010/main" val="2869210640"/>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help.tableau.com/current/pro/desktop/en-us/formatting_editaxes.htm#Transform"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help.tableau.com/current/pro/desktop/en-us/formatting_editaxes.htm#Transform"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ie chart shows %- Among 786 customers, what’s the trend of churning?</a:t>
            </a:r>
          </a:p>
        </p:txBody>
      </p:sp>
      <p:sp>
        <p:nvSpPr>
          <p:cNvPr id="4" name="Slide Number Placeholder 3"/>
          <p:cNvSpPr>
            <a:spLocks noGrp="1"/>
          </p:cNvSpPr>
          <p:nvPr>
            <p:ph type="sldNum" sz="quarter" idx="5"/>
          </p:nvPr>
        </p:nvSpPr>
        <p:spPr/>
        <p:txBody>
          <a:bodyPr/>
          <a:lstStyle/>
          <a:p>
            <a:fld id="{64E057AF-B50A-462F-987E-5E06E6E6A382}" type="slidenum">
              <a:rPr lang="en-US" smtClean="0"/>
              <a:t>3</a:t>
            </a:fld>
            <a:endParaRPr lang="en-US"/>
          </a:p>
        </p:txBody>
      </p:sp>
    </p:spTree>
    <p:extLst>
      <p:ext uri="{BB962C8B-B14F-4D97-AF65-F5344CB8AC3E}">
        <p14:creationId xmlns:p14="http://schemas.microsoft.com/office/powerpoint/2010/main" val="13426917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4E057AF-B50A-462F-987E-5E06E6E6A382}" type="slidenum">
              <a:rPr lang="en-US" smtClean="0"/>
              <a:t>4</a:t>
            </a:fld>
            <a:endParaRPr lang="en-US"/>
          </a:p>
        </p:txBody>
      </p:sp>
    </p:spTree>
    <p:extLst>
      <p:ext uri="{BB962C8B-B14F-4D97-AF65-F5344CB8AC3E}">
        <p14:creationId xmlns:p14="http://schemas.microsoft.com/office/powerpoint/2010/main" val="17816176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4E057AF-B50A-462F-987E-5E06E6E6A382}" type="slidenum">
              <a:rPr lang="en-US" smtClean="0"/>
              <a:t>5</a:t>
            </a:fld>
            <a:endParaRPr lang="en-US"/>
          </a:p>
        </p:txBody>
      </p:sp>
    </p:spTree>
    <p:extLst>
      <p:ext uri="{BB962C8B-B14F-4D97-AF65-F5344CB8AC3E}">
        <p14:creationId xmlns:p14="http://schemas.microsoft.com/office/powerpoint/2010/main" val="28468597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4E057AF-B50A-462F-987E-5E06E6E6A382}" type="slidenum">
              <a:rPr lang="en-US" smtClean="0"/>
              <a:t>6</a:t>
            </a:fld>
            <a:endParaRPr lang="en-US"/>
          </a:p>
        </p:txBody>
      </p:sp>
    </p:spTree>
    <p:extLst>
      <p:ext uri="{BB962C8B-B14F-4D97-AF65-F5344CB8AC3E}">
        <p14:creationId xmlns:p14="http://schemas.microsoft.com/office/powerpoint/2010/main" val="20774718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a:solidFill>
                <a:srgbClr val="333333"/>
              </a:solidFill>
              <a:effectLst/>
              <a:latin typeface="Merriweather" panose="00000500000000000000" pitchFamily="2" charset="0"/>
            </a:endParaRPr>
          </a:p>
        </p:txBody>
      </p:sp>
      <p:sp>
        <p:nvSpPr>
          <p:cNvPr id="4" name="Slide Number Placeholder 3"/>
          <p:cNvSpPr>
            <a:spLocks noGrp="1"/>
          </p:cNvSpPr>
          <p:nvPr>
            <p:ph type="sldNum" sz="quarter" idx="5"/>
          </p:nvPr>
        </p:nvSpPr>
        <p:spPr/>
        <p:txBody>
          <a:bodyPr/>
          <a:lstStyle/>
          <a:p>
            <a:fld id="{64E057AF-B50A-462F-987E-5E06E6E6A382}" type="slidenum">
              <a:rPr lang="en-US" smtClean="0"/>
              <a:t>11</a:t>
            </a:fld>
            <a:endParaRPr lang="en-US"/>
          </a:p>
        </p:txBody>
      </p:sp>
    </p:spTree>
    <p:extLst>
      <p:ext uri="{BB962C8B-B14F-4D97-AF65-F5344CB8AC3E}">
        <p14:creationId xmlns:p14="http://schemas.microsoft.com/office/powerpoint/2010/main" val="22809691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a:solidFill>
                  <a:srgbClr val="333333"/>
                </a:solidFill>
                <a:effectLst/>
              </a:rPr>
              <a:t>Using a symmetric log axis scale for small values has a similar effect to using a linear scale (i.e. a normal quantitative axi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333333"/>
                </a:solidFill>
                <a:effectLst/>
              </a:rPr>
              <a:t>(</a:t>
            </a:r>
            <a:r>
              <a:rPr lang="en-US" b="0" i="0" err="1">
                <a:solidFill>
                  <a:srgbClr val="333333"/>
                </a:solidFill>
                <a:effectLst/>
              </a:rPr>
              <a:t>Source:</a:t>
            </a:r>
            <a:r>
              <a:rPr lang="en-US" b="0" i="0" err="1">
                <a:solidFill>
                  <a:srgbClr val="333333"/>
                </a:solidFill>
                <a:effectLst/>
                <a:hlinkClick r:id="rId3"/>
              </a:rPr>
              <a:t>https</a:t>
            </a:r>
            <a:r>
              <a:rPr lang="en-US" b="0" i="0">
                <a:solidFill>
                  <a:srgbClr val="333333"/>
                </a:solidFill>
                <a:effectLst/>
                <a:hlinkClick r:id="rId3"/>
              </a:rPr>
              <a:t>://help.tableau.com/current/pro/desktop/</a:t>
            </a:r>
            <a:r>
              <a:rPr lang="en-US" b="0" i="0" err="1">
                <a:solidFill>
                  <a:srgbClr val="333333"/>
                </a:solidFill>
                <a:effectLst/>
                <a:hlinkClick r:id="rId3"/>
              </a:rPr>
              <a:t>en</a:t>
            </a:r>
            <a:r>
              <a:rPr lang="en-US" b="0" i="0">
                <a:solidFill>
                  <a:srgbClr val="333333"/>
                </a:solidFill>
                <a:effectLst/>
                <a:hlinkClick r:id="rId3"/>
              </a:rPr>
              <a:t>-us/</a:t>
            </a:r>
            <a:r>
              <a:rPr lang="en-US" b="0" i="0" err="1">
                <a:solidFill>
                  <a:srgbClr val="333333"/>
                </a:solidFill>
                <a:effectLst/>
                <a:hlinkClick r:id="rId3"/>
              </a:rPr>
              <a:t>formatting_editaxes.htm#Transform</a:t>
            </a:r>
            <a:r>
              <a:rPr lang="en-US" b="0" i="0">
                <a:solidFill>
                  <a:srgbClr val="333333"/>
                </a:solidFill>
                <a:effectLst/>
              </a:rPr>
              <a:t>)</a:t>
            </a:r>
          </a:p>
        </p:txBody>
      </p:sp>
      <p:sp>
        <p:nvSpPr>
          <p:cNvPr id="4" name="Slide Number Placeholder 3"/>
          <p:cNvSpPr>
            <a:spLocks noGrp="1"/>
          </p:cNvSpPr>
          <p:nvPr>
            <p:ph type="sldNum" sz="quarter" idx="5"/>
          </p:nvPr>
        </p:nvSpPr>
        <p:spPr/>
        <p:txBody>
          <a:bodyPr/>
          <a:lstStyle/>
          <a:p>
            <a:fld id="{64E057AF-B50A-462F-987E-5E06E6E6A382}" type="slidenum">
              <a:rPr lang="en-US" smtClean="0"/>
              <a:t>12</a:t>
            </a:fld>
            <a:endParaRPr lang="en-US"/>
          </a:p>
        </p:txBody>
      </p:sp>
    </p:spTree>
    <p:extLst>
      <p:ext uri="{BB962C8B-B14F-4D97-AF65-F5344CB8AC3E}">
        <p14:creationId xmlns:p14="http://schemas.microsoft.com/office/powerpoint/2010/main" val="33083125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a:solidFill>
                  <a:srgbClr val="333333"/>
                </a:solidFill>
                <a:effectLst/>
              </a:rPr>
              <a:t>Using a symmetric log axis scale for small values has a similar effect to using a linear scale (i.e. a normal quantitative axi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333333"/>
                </a:solidFill>
                <a:effectLst/>
              </a:rPr>
              <a:t>(</a:t>
            </a:r>
            <a:r>
              <a:rPr lang="en-US" b="0" i="0" err="1">
                <a:solidFill>
                  <a:srgbClr val="333333"/>
                </a:solidFill>
                <a:effectLst/>
              </a:rPr>
              <a:t>Source:</a:t>
            </a:r>
            <a:r>
              <a:rPr lang="en-US" b="0" i="0" err="1">
                <a:solidFill>
                  <a:srgbClr val="333333"/>
                </a:solidFill>
                <a:effectLst/>
                <a:hlinkClick r:id="rId3"/>
              </a:rPr>
              <a:t>https</a:t>
            </a:r>
            <a:r>
              <a:rPr lang="en-US" b="0" i="0">
                <a:solidFill>
                  <a:srgbClr val="333333"/>
                </a:solidFill>
                <a:effectLst/>
                <a:hlinkClick r:id="rId3"/>
              </a:rPr>
              <a:t>://help.tableau.com/current/pro/desktop/</a:t>
            </a:r>
            <a:r>
              <a:rPr lang="en-US" b="0" i="0" err="1">
                <a:solidFill>
                  <a:srgbClr val="333333"/>
                </a:solidFill>
                <a:effectLst/>
                <a:hlinkClick r:id="rId3"/>
              </a:rPr>
              <a:t>en</a:t>
            </a:r>
            <a:r>
              <a:rPr lang="en-US" b="0" i="0">
                <a:solidFill>
                  <a:srgbClr val="333333"/>
                </a:solidFill>
                <a:effectLst/>
                <a:hlinkClick r:id="rId3"/>
              </a:rPr>
              <a:t>-us/</a:t>
            </a:r>
            <a:r>
              <a:rPr lang="en-US" b="0" i="0" err="1">
                <a:solidFill>
                  <a:srgbClr val="333333"/>
                </a:solidFill>
                <a:effectLst/>
                <a:hlinkClick r:id="rId3"/>
              </a:rPr>
              <a:t>formatting_editaxes.htm#Transform</a:t>
            </a:r>
            <a:r>
              <a:rPr lang="en-US" b="0" i="0">
                <a:solidFill>
                  <a:srgbClr val="333333"/>
                </a:solidFill>
                <a:effectLst/>
              </a:rPr>
              <a:t>)</a:t>
            </a:r>
          </a:p>
        </p:txBody>
      </p:sp>
      <p:sp>
        <p:nvSpPr>
          <p:cNvPr id="4" name="Slide Number Placeholder 3"/>
          <p:cNvSpPr>
            <a:spLocks noGrp="1"/>
          </p:cNvSpPr>
          <p:nvPr>
            <p:ph type="sldNum" sz="quarter" idx="5"/>
          </p:nvPr>
        </p:nvSpPr>
        <p:spPr/>
        <p:txBody>
          <a:bodyPr/>
          <a:lstStyle/>
          <a:p>
            <a:fld id="{64E057AF-B50A-462F-987E-5E06E6E6A382}" type="slidenum">
              <a:rPr lang="en-US" smtClean="0"/>
              <a:t>13</a:t>
            </a:fld>
            <a:endParaRPr lang="en-US"/>
          </a:p>
        </p:txBody>
      </p:sp>
    </p:spTree>
    <p:extLst>
      <p:ext uri="{BB962C8B-B14F-4D97-AF65-F5344CB8AC3E}">
        <p14:creationId xmlns:p14="http://schemas.microsoft.com/office/powerpoint/2010/main" val="42744386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a:solidFill>
                <a:srgbClr val="333333"/>
              </a:solidFill>
              <a:effectLst/>
            </a:endParaRPr>
          </a:p>
        </p:txBody>
      </p:sp>
      <p:sp>
        <p:nvSpPr>
          <p:cNvPr id="4" name="Slide Number Placeholder 3"/>
          <p:cNvSpPr>
            <a:spLocks noGrp="1"/>
          </p:cNvSpPr>
          <p:nvPr>
            <p:ph type="sldNum" sz="quarter" idx="5"/>
          </p:nvPr>
        </p:nvSpPr>
        <p:spPr/>
        <p:txBody>
          <a:bodyPr/>
          <a:lstStyle/>
          <a:p>
            <a:fld id="{64E057AF-B50A-462F-987E-5E06E6E6A382}" type="slidenum">
              <a:rPr lang="en-US" smtClean="0"/>
              <a:t>14</a:t>
            </a:fld>
            <a:endParaRPr lang="en-US"/>
          </a:p>
        </p:txBody>
      </p:sp>
    </p:spTree>
    <p:extLst>
      <p:ext uri="{BB962C8B-B14F-4D97-AF65-F5344CB8AC3E}">
        <p14:creationId xmlns:p14="http://schemas.microsoft.com/office/powerpoint/2010/main" val="41192945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333333"/>
                </a:solidFill>
                <a:effectLst/>
                <a:latin typeface="Merriweather" panose="00000500000000000000" pitchFamily="2" charset="0"/>
              </a:rPr>
              <a:t>This attribute is to be included in model as </a:t>
            </a:r>
          </a:p>
        </p:txBody>
      </p:sp>
      <p:sp>
        <p:nvSpPr>
          <p:cNvPr id="4" name="Slide Number Placeholder 3"/>
          <p:cNvSpPr>
            <a:spLocks noGrp="1"/>
          </p:cNvSpPr>
          <p:nvPr>
            <p:ph type="sldNum" sz="quarter" idx="5"/>
          </p:nvPr>
        </p:nvSpPr>
        <p:spPr/>
        <p:txBody>
          <a:bodyPr/>
          <a:lstStyle/>
          <a:p>
            <a:fld id="{64E057AF-B50A-462F-987E-5E06E6E6A382}" type="slidenum">
              <a:rPr lang="en-US" smtClean="0"/>
              <a:t>15</a:t>
            </a:fld>
            <a:endParaRPr lang="en-US"/>
          </a:p>
        </p:txBody>
      </p:sp>
    </p:spTree>
    <p:extLst>
      <p:ext uri="{BB962C8B-B14F-4D97-AF65-F5344CB8AC3E}">
        <p14:creationId xmlns:p14="http://schemas.microsoft.com/office/powerpoint/2010/main" val="7182091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3FBFFD5-2DD7-4AEF-8AD5-C97806BC936F}" type="datetime1">
              <a:rPr lang="en-US" smtClean="0"/>
              <a:t>3/9/2023</a:t>
            </a:fld>
            <a:endParaRPr lang="en-US"/>
          </a:p>
        </p:txBody>
      </p:sp>
      <p:sp>
        <p:nvSpPr>
          <p:cNvPr id="5" name="Footer Placeholder 4"/>
          <p:cNvSpPr>
            <a:spLocks noGrp="1"/>
          </p:cNvSpPr>
          <p:nvPr>
            <p:ph type="ftr" sz="quarter" idx="11"/>
          </p:nvPr>
        </p:nvSpPr>
        <p:spPr/>
        <p:txBody>
          <a:bodyPr/>
          <a:lstStyle/>
          <a:p>
            <a:r>
              <a:rPr lang="en-US"/>
              <a:t>Yash Jivani</a:t>
            </a:r>
          </a:p>
        </p:txBody>
      </p:sp>
      <p:sp>
        <p:nvSpPr>
          <p:cNvPr id="6" name="Slide Number Placeholder 5"/>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23746432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E16B59E-2E16-40EB-9422-9B8978E99CF4}" type="datetime1">
              <a:rPr lang="en-US" smtClean="0"/>
              <a:t>3/9/2023</a:t>
            </a:fld>
            <a:endParaRPr lang="en-US"/>
          </a:p>
        </p:txBody>
      </p:sp>
      <p:sp>
        <p:nvSpPr>
          <p:cNvPr id="5" name="Footer Placeholder 4"/>
          <p:cNvSpPr>
            <a:spLocks noGrp="1"/>
          </p:cNvSpPr>
          <p:nvPr>
            <p:ph type="ftr" sz="quarter" idx="11"/>
          </p:nvPr>
        </p:nvSpPr>
        <p:spPr/>
        <p:txBody>
          <a:bodyPr/>
          <a:lstStyle/>
          <a:p>
            <a:r>
              <a:rPr lang="en-US"/>
              <a:t>Yash Jivani</a:t>
            </a:r>
          </a:p>
        </p:txBody>
      </p:sp>
      <p:sp>
        <p:nvSpPr>
          <p:cNvPr id="6" name="Slide Number Placeholder 5"/>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11193072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E77F798-354E-4242-B5C7-3C530FF77202}" type="datetime1">
              <a:rPr lang="en-US" smtClean="0"/>
              <a:t>3/9/2023</a:t>
            </a:fld>
            <a:endParaRPr lang="en-US"/>
          </a:p>
        </p:txBody>
      </p:sp>
      <p:sp>
        <p:nvSpPr>
          <p:cNvPr id="5" name="Footer Placeholder 4"/>
          <p:cNvSpPr>
            <a:spLocks noGrp="1"/>
          </p:cNvSpPr>
          <p:nvPr>
            <p:ph type="ftr" sz="quarter" idx="11"/>
          </p:nvPr>
        </p:nvSpPr>
        <p:spPr/>
        <p:txBody>
          <a:bodyPr/>
          <a:lstStyle/>
          <a:p>
            <a:r>
              <a:rPr lang="en-US"/>
              <a:t>Yash Jivani</a:t>
            </a:r>
          </a:p>
        </p:txBody>
      </p:sp>
      <p:sp>
        <p:nvSpPr>
          <p:cNvPr id="6" name="Slide Number Placeholder 5"/>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28892703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680F6B76-6002-421C-B6FF-934A0F4E472C}" type="datetime1">
              <a:rPr lang="en-US" smtClean="0"/>
              <a:t>3/9/2023</a:t>
            </a:fld>
            <a:endParaRPr lang="en-US"/>
          </a:p>
        </p:txBody>
      </p:sp>
      <p:sp>
        <p:nvSpPr>
          <p:cNvPr id="5" name="Footer Placeholder 4"/>
          <p:cNvSpPr>
            <a:spLocks noGrp="1"/>
          </p:cNvSpPr>
          <p:nvPr>
            <p:ph type="ftr" sz="quarter" idx="11"/>
          </p:nvPr>
        </p:nvSpPr>
        <p:spPr/>
        <p:txBody>
          <a:bodyPr/>
          <a:lstStyle/>
          <a:p>
            <a:r>
              <a:rPr lang="en-US"/>
              <a:t>Yash Jivani</a:t>
            </a:r>
          </a:p>
        </p:txBody>
      </p:sp>
      <p:sp>
        <p:nvSpPr>
          <p:cNvPr id="6" name="Slide Number Placeholder 5"/>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1350569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7A7B1C2-55FB-4088-98C0-A8FD00158805}" type="datetime1">
              <a:rPr lang="en-US" smtClean="0"/>
              <a:t>3/9/2023</a:t>
            </a:fld>
            <a:endParaRPr lang="en-US"/>
          </a:p>
        </p:txBody>
      </p:sp>
      <p:sp>
        <p:nvSpPr>
          <p:cNvPr id="5" name="Footer Placeholder 4"/>
          <p:cNvSpPr>
            <a:spLocks noGrp="1"/>
          </p:cNvSpPr>
          <p:nvPr>
            <p:ph type="ftr" sz="quarter" idx="11"/>
          </p:nvPr>
        </p:nvSpPr>
        <p:spPr/>
        <p:txBody>
          <a:bodyPr/>
          <a:lstStyle/>
          <a:p>
            <a:r>
              <a:rPr lang="en-US"/>
              <a:t>Yash Jivani</a:t>
            </a:r>
          </a:p>
        </p:txBody>
      </p:sp>
      <p:sp>
        <p:nvSpPr>
          <p:cNvPr id="6" name="Slide Number Placeholder 5"/>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6306182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B98ED0C-2086-4A6D-883E-1557232A4476}" type="datetime1">
              <a:rPr lang="en-US" smtClean="0"/>
              <a:t>3/9/2023</a:t>
            </a:fld>
            <a:endParaRPr lang="en-US"/>
          </a:p>
        </p:txBody>
      </p:sp>
      <p:sp>
        <p:nvSpPr>
          <p:cNvPr id="5" name="Footer Placeholder 4"/>
          <p:cNvSpPr>
            <a:spLocks noGrp="1"/>
          </p:cNvSpPr>
          <p:nvPr>
            <p:ph type="ftr" sz="quarter" idx="11"/>
          </p:nvPr>
        </p:nvSpPr>
        <p:spPr/>
        <p:txBody>
          <a:bodyPr/>
          <a:lstStyle/>
          <a:p>
            <a:r>
              <a:rPr lang="en-US"/>
              <a:t>Yash Jivani</a:t>
            </a:r>
          </a:p>
        </p:txBody>
      </p:sp>
      <p:sp>
        <p:nvSpPr>
          <p:cNvPr id="6" name="Slide Number Placeholder 5"/>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119878422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139C192-5052-4E61-B870-502144533949}" type="datetime1">
              <a:rPr lang="en-US" smtClean="0"/>
              <a:t>3/9/2023</a:t>
            </a:fld>
            <a:endParaRPr lang="en-US"/>
          </a:p>
        </p:txBody>
      </p:sp>
      <p:sp>
        <p:nvSpPr>
          <p:cNvPr id="6" name="Footer Placeholder 5"/>
          <p:cNvSpPr>
            <a:spLocks noGrp="1"/>
          </p:cNvSpPr>
          <p:nvPr>
            <p:ph type="ftr" sz="quarter" idx="11"/>
          </p:nvPr>
        </p:nvSpPr>
        <p:spPr/>
        <p:txBody>
          <a:bodyPr/>
          <a:lstStyle/>
          <a:p>
            <a:r>
              <a:rPr lang="en-US"/>
              <a:t>Yash Jivani</a:t>
            </a:r>
          </a:p>
        </p:txBody>
      </p:sp>
      <p:sp>
        <p:nvSpPr>
          <p:cNvPr id="7" name="Slide Number Placeholder 6"/>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18015035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234CB3F-E0AE-4536-A038-444DFEB2B562}" type="datetime1">
              <a:rPr lang="en-US" smtClean="0"/>
              <a:t>3/9/2023</a:t>
            </a:fld>
            <a:endParaRPr lang="en-US"/>
          </a:p>
        </p:txBody>
      </p:sp>
      <p:sp>
        <p:nvSpPr>
          <p:cNvPr id="8" name="Footer Placeholder 7"/>
          <p:cNvSpPr>
            <a:spLocks noGrp="1"/>
          </p:cNvSpPr>
          <p:nvPr>
            <p:ph type="ftr" sz="quarter" idx="11"/>
          </p:nvPr>
        </p:nvSpPr>
        <p:spPr/>
        <p:txBody>
          <a:bodyPr/>
          <a:lstStyle/>
          <a:p>
            <a:r>
              <a:rPr lang="en-US"/>
              <a:t>Yash Jivani</a:t>
            </a:r>
          </a:p>
        </p:txBody>
      </p:sp>
      <p:sp>
        <p:nvSpPr>
          <p:cNvPr id="9" name="Slide Number Placeholder 8"/>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5033214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232DF47B-F4F7-45D3-9759-4CF32B34EB8F}" type="datetime1">
              <a:rPr lang="en-US" smtClean="0"/>
              <a:t>3/9/2023</a:t>
            </a:fld>
            <a:endParaRPr lang="en-US"/>
          </a:p>
        </p:txBody>
      </p:sp>
      <p:sp>
        <p:nvSpPr>
          <p:cNvPr id="4" name="Footer Placeholder 3"/>
          <p:cNvSpPr>
            <a:spLocks noGrp="1"/>
          </p:cNvSpPr>
          <p:nvPr>
            <p:ph type="ftr" sz="quarter" idx="11"/>
          </p:nvPr>
        </p:nvSpPr>
        <p:spPr/>
        <p:txBody>
          <a:bodyPr/>
          <a:lstStyle/>
          <a:p>
            <a:r>
              <a:rPr lang="en-US"/>
              <a:t>Yash Jivani</a:t>
            </a:r>
          </a:p>
        </p:txBody>
      </p:sp>
      <p:sp>
        <p:nvSpPr>
          <p:cNvPr id="5" name="Slide Number Placeholder 4"/>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30576382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483E151-B642-449E-8952-4B1E2DC1A3FE}" type="datetime1">
              <a:rPr lang="en-US" smtClean="0"/>
              <a:t>3/9/2023</a:t>
            </a:fld>
            <a:endParaRPr lang="en-US"/>
          </a:p>
        </p:txBody>
      </p:sp>
      <p:sp>
        <p:nvSpPr>
          <p:cNvPr id="3" name="Footer Placeholder 2"/>
          <p:cNvSpPr>
            <a:spLocks noGrp="1"/>
          </p:cNvSpPr>
          <p:nvPr>
            <p:ph type="ftr" sz="quarter" idx="11"/>
          </p:nvPr>
        </p:nvSpPr>
        <p:spPr/>
        <p:txBody>
          <a:bodyPr/>
          <a:lstStyle/>
          <a:p>
            <a:r>
              <a:rPr lang="en-US"/>
              <a:t>Yash Jivani</a:t>
            </a:r>
          </a:p>
        </p:txBody>
      </p:sp>
      <p:sp>
        <p:nvSpPr>
          <p:cNvPr id="4" name="Slide Number Placeholder 3"/>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24824158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EC3B972-E128-4D03-9F86-99C0DC6C6581}" type="datetime1">
              <a:rPr lang="en-US" smtClean="0"/>
              <a:t>3/9/2023</a:t>
            </a:fld>
            <a:endParaRPr lang="en-US"/>
          </a:p>
        </p:txBody>
      </p:sp>
      <p:sp>
        <p:nvSpPr>
          <p:cNvPr id="6" name="Footer Placeholder 5"/>
          <p:cNvSpPr>
            <a:spLocks noGrp="1"/>
          </p:cNvSpPr>
          <p:nvPr>
            <p:ph type="ftr" sz="quarter" idx="11"/>
          </p:nvPr>
        </p:nvSpPr>
        <p:spPr/>
        <p:txBody>
          <a:bodyPr/>
          <a:lstStyle/>
          <a:p>
            <a:r>
              <a:rPr lang="en-US"/>
              <a:t>Yash Jivani</a:t>
            </a:r>
          </a:p>
        </p:txBody>
      </p:sp>
      <p:sp>
        <p:nvSpPr>
          <p:cNvPr id="7" name="Slide Number Placeholder 6"/>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2963813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B4BEA79-F58F-41C4-ACF7-7AAEC01F3D90}" type="datetime1">
              <a:rPr lang="en-US" smtClean="0"/>
              <a:t>3/9/2023</a:t>
            </a:fld>
            <a:endParaRPr lang="en-US"/>
          </a:p>
        </p:txBody>
      </p:sp>
      <p:sp>
        <p:nvSpPr>
          <p:cNvPr id="5" name="Footer Placeholder 4"/>
          <p:cNvSpPr>
            <a:spLocks noGrp="1"/>
          </p:cNvSpPr>
          <p:nvPr>
            <p:ph type="ftr" sz="quarter" idx="11"/>
          </p:nvPr>
        </p:nvSpPr>
        <p:spPr/>
        <p:txBody>
          <a:bodyPr/>
          <a:lstStyle/>
          <a:p>
            <a:r>
              <a:rPr lang="en-US"/>
              <a:t>Yash Jivani</a:t>
            </a:r>
          </a:p>
        </p:txBody>
      </p:sp>
      <p:sp>
        <p:nvSpPr>
          <p:cNvPr id="6" name="Slide Number Placeholder 5"/>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26432170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13B6B50-17B4-441A-B335-DAEA9341CC0F}" type="datetime1">
              <a:rPr lang="en-US" smtClean="0"/>
              <a:t>3/9/2023</a:t>
            </a:fld>
            <a:endParaRPr lang="en-US"/>
          </a:p>
        </p:txBody>
      </p:sp>
      <p:sp>
        <p:nvSpPr>
          <p:cNvPr id="6" name="Footer Placeholder 5"/>
          <p:cNvSpPr>
            <a:spLocks noGrp="1"/>
          </p:cNvSpPr>
          <p:nvPr>
            <p:ph type="ftr" sz="quarter" idx="11"/>
          </p:nvPr>
        </p:nvSpPr>
        <p:spPr/>
        <p:txBody>
          <a:bodyPr/>
          <a:lstStyle/>
          <a:p>
            <a:r>
              <a:rPr lang="en-US"/>
              <a:t>Yash Jivani</a:t>
            </a:r>
          </a:p>
        </p:txBody>
      </p:sp>
      <p:sp>
        <p:nvSpPr>
          <p:cNvPr id="7" name="Slide Number Placeholder 6"/>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34984131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4B86329-3154-4081-96AF-2DF4B4503815}" type="datetime1">
              <a:rPr lang="en-US" smtClean="0"/>
              <a:t>3/9/2023</a:t>
            </a:fld>
            <a:endParaRPr lang="en-US"/>
          </a:p>
        </p:txBody>
      </p:sp>
      <p:sp>
        <p:nvSpPr>
          <p:cNvPr id="5" name="Footer Placeholder 4"/>
          <p:cNvSpPr>
            <a:spLocks noGrp="1"/>
          </p:cNvSpPr>
          <p:nvPr>
            <p:ph type="ftr" sz="quarter" idx="11"/>
          </p:nvPr>
        </p:nvSpPr>
        <p:spPr/>
        <p:txBody>
          <a:bodyPr/>
          <a:lstStyle/>
          <a:p>
            <a:r>
              <a:rPr lang="en-US"/>
              <a:t>Yash Jivani</a:t>
            </a:r>
          </a:p>
        </p:txBody>
      </p:sp>
      <p:sp>
        <p:nvSpPr>
          <p:cNvPr id="6" name="Slide Number Placeholder 5"/>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241666625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07648EB-B113-4957-8ECA-A6F517FB70BC}" type="datetime1">
              <a:rPr lang="en-US" smtClean="0"/>
              <a:t>3/9/2023</a:t>
            </a:fld>
            <a:endParaRPr lang="en-US"/>
          </a:p>
        </p:txBody>
      </p:sp>
      <p:sp>
        <p:nvSpPr>
          <p:cNvPr id="5" name="Footer Placeholder 4"/>
          <p:cNvSpPr>
            <a:spLocks noGrp="1"/>
          </p:cNvSpPr>
          <p:nvPr>
            <p:ph type="ftr" sz="quarter" idx="11"/>
          </p:nvPr>
        </p:nvSpPr>
        <p:spPr/>
        <p:txBody>
          <a:bodyPr/>
          <a:lstStyle/>
          <a:p>
            <a:r>
              <a:rPr lang="en-US"/>
              <a:t>Yash Jivani</a:t>
            </a:r>
          </a:p>
        </p:txBody>
      </p:sp>
      <p:sp>
        <p:nvSpPr>
          <p:cNvPr id="6" name="Slide Number Placeholder 5"/>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170007906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DCF1935-1E4A-4097-9646-EE66CD93376A}" type="datetime1">
              <a:rPr lang="en-US" smtClean="0"/>
              <a:t>3/9/2023</a:t>
            </a:fld>
            <a:endParaRPr lang="en-US"/>
          </a:p>
        </p:txBody>
      </p:sp>
      <p:sp>
        <p:nvSpPr>
          <p:cNvPr id="5" name="Footer Placeholder 4"/>
          <p:cNvSpPr>
            <a:spLocks noGrp="1"/>
          </p:cNvSpPr>
          <p:nvPr>
            <p:ph type="ftr" sz="quarter" idx="11"/>
          </p:nvPr>
        </p:nvSpPr>
        <p:spPr/>
        <p:txBody>
          <a:bodyPr/>
          <a:lstStyle/>
          <a:p>
            <a:r>
              <a:rPr lang="en-US"/>
              <a:t>Yash Jivani</a:t>
            </a:r>
          </a:p>
        </p:txBody>
      </p:sp>
      <p:sp>
        <p:nvSpPr>
          <p:cNvPr id="6" name="Slide Number Placeholder 5"/>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220101735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824572B-CEE0-4C53-877B-0196CC2F8068}" type="datetime1">
              <a:rPr lang="en-US" smtClean="0"/>
              <a:t>3/9/2023</a:t>
            </a:fld>
            <a:endParaRPr lang="en-US"/>
          </a:p>
        </p:txBody>
      </p:sp>
      <p:sp>
        <p:nvSpPr>
          <p:cNvPr id="5" name="Footer Placeholder 4"/>
          <p:cNvSpPr>
            <a:spLocks noGrp="1"/>
          </p:cNvSpPr>
          <p:nvPr>
            <p:ph type="ftr" sz="quarter" idx="11"/>
          </p:nvPr>
        </p:nvSpPr>
        <p:spPr/>
        <p:txBody>
          <a:bodyPr/>
          <a:lstStyle/>
          <a:p>
            <a:r>
              <a:rPr lang="en-US"/>
              <a:t>Yash Jivani</a:t>
            </a:r>
          </a:p>
        </p:txBody>
      </p:sp>
      <p:sp>
        <p:nvSpPr>
          <p:cNvPr id="6" name="Slide Number Placeholder 5"/>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38298926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9954404-42BA-4855-A8B1-F5266EF83C0B}" type="datetime1">
              <a:rPr lang="en-US" smtClean="0"/>
              <a:t>3/9/2023</a:t>
            </a:fld>
            <a:endParaRPr lang="en-US"/>
          </a:p>
        </p:txBody>
      </p:sp>
      <p:sp>
        <p:nvSpPr>
          <p:cNvPr id="5" name="Footer Placeholder 4"/>
          <p:cNvSpPr>
            <a:spLocks noGrp="1"/>
          </p:cNvSpPr>
          <p:nvPr>
            <p:ph type="ftr" sz="quarter" idx="11"/>
          </p:nvPr>
        </p:nvSpPr>
        <p:spPr/>
        <p:txBody>
          <a:bodyPr/>
          <a:lstStyle/>
          <a:p>
            <a:r>
              <a:rPr lang="en-US"/>
              <a:t>Yash Jivani</a:t>
            </a:r>
          </a:p>
        </p:txBody>
      </p:sp>
      <p:sp>
        <p:nvSpPr>
          <p:cNvPr id="6" name="Slide Number Placeholder 5"/>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168111556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E8FFF1B-EB31-46C9-94A6-D07EDAC9B3B6}" type="datetime1">
              <a:rPr lang="en-US" smtClean="0"/>
              <a:t>3/9/2023</a:t>
            </a:fld>
            <a:endParaRPr lang="en-US"/>
          </a:p>
        </p:txBody>
      </p:sp>
      <p:sp>
        <p:nvSpPr>
          <p:cNvPr id="6" name="Footer Placeholder 5"/>
          <p:cNvSpPr>
            <a:spLocks noGrp="1"/>
          </p:cNvSpPr>
          <p:nvPr>
            <p:ph type="ftr" sz="quarter" idx="11"/>
          </p:nvPr>
        </p:nvSpPr>
        <p:spPr/>
        <p:txBody>
          <a:bodyPr/>
          <a:lstStyle/>
          <a:p>
            <a:r>
              <a:rPr lang="en-US"/>
              <a:t>Yash Jivani</a:t>
            </a:r>
          </a:p>
        </p:txBody>
      </p:sp>
      <p:sp>
        <p:nvSpPr>
          <p:cNvPr id="7" name="Slide Number Placeholder 6"/>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130929796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FD2D4734-7B9C-4306-BA54-5E1D35B90178}" type="datetime1">
              <a:rPr lang="en-US" smtClean="0"/>
              <a:t>3/9/2023</a:t>
            </a:fld>
            <a:endParaRPr lang="en-US"/>
          </a:p>
        </p:txBody>
      </p:sp>
      <p:sp>
        <p:nvSpPr>
          <p:cNvPr id="8" name="Footer Placeholder 7"/>
          <p:cNvSpPr>
            <a:spLocks noGrp="1"/>
          </p:cNvSpPr>
          <p:nvPr>
            <p:ph type="ftr" sz="quarter" idx="11"/>
          </p:nvPr>
        </p:nvSpPr>
        <p:spPr/>
        <p:txBody>
          <a:bodyPr/>
          <a:lstStyle/>
          <a:p>
            <a:r>
              <a:rPr lang="en-US"/>
              <a:t>Yash Jivani</a:t>
            </a:r>
          </a:p>
        </p:txBody>
      </p:sp>
      <p:sp>
        <p:nvSpPr>
          <p:cNvPr id="9" name="Slide Number Placeholder 8"/>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179384680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541A546-83F0-4DF5-A66A-12534E96587A}" type="datetime1">
              <a:rPr lang="en-US" smtClean="0"/>
              <a:t>3/9/2023</a:t>
            </a:fld>
            <a:endParaRPr lang="en-US"/>
          </a:p>
        </p:txBody>
      </p:sp>
      <p:sp>
        <p:nvSpPr>
          <p:cNvPr id="4" name="Footer Placeholder 3"/>
          <p:cNvSpPr>
            <a:spLocks noGrp="1"/>
          </p:cNvSpPr>
          <p:nvPr>
            <p:ph type="ftr" sz="quarter" idx="11"/>
          </p:nvPr>
        </p:nvSpPr>
        <p:spPr/>
        <p:txBody>
          <a:bodyPr/>
          <a:lstStyle/>
          <a:p>
            <a:r>
              <a:rPr lang="en-US"/>
              <a:t>Yash Jivani</a:t>
            </a:r>
          </a:p>
        </p:txBody>
      </p:sp>
      <p:sp>
        <p:nvSpPr>
          <p:cNvPr id="5" name="Slide Number Placeholder 4"/>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132880808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225588B-E97A-49F4-8718-75AFFDE27DAB}" type="datetime1">
              <a:rPr lang="en-US" smtClean="0"/>
              <a:t>3/9/2023</a:t>
            </a:fld>
            <a:endParaRPr lang="en-US"/>
          </a:p>
        </p:txBody>
      </p:sp>
      <p:sp>
        <p:nvSpPr>
          <p:cNvPr id="3" name="Footer Placeholder 2"/>
          <p:cNvSpPr>
            <a:spLocks noGrp="1"/>
          </p:cNvSpPr>
          <p:nvPr>
            <p:ph type="ftr" sz="quarter" idx="11"/>
          </p:nvPr>
        </p:nvSpPr>
        <p:spPr/>
        <p:txBody>
          <a:bodyPr/>
          <a:lstStyle/>
          <a:p>
            <a:r>
              <a:rPr lang="en-US"/>
              <a:t>Yash Jivani</a:t>
            </a:r>
          </a:p>
        </p:txBody>
      </p:sp>
      <p:sp>
        <p:nvSpPr>
          <p:cNvPr id="4" name="Slide Number Placeholder 3"/>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35784815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F69F499-89DD-49CA-A873-F5327BD3164F}" type="datetime1">
              <a:rPr lang="en-US" smtClean="0"/>
              <a:t>3/9/2023</a:t>
            </a:fld>
            <a:endParaRPr lang="en-US"/>
          </a:p>
        </p:txBody>
      </p:sp>
      <p:sp>
        <p:nvSpPr>
          <p:cNvPr id="5" name="Footer Placeholder 4"/>
          <p:cNvSpPr>
            <a:spLocks noGrp="1"/>
          </p:cNvSpPr>
          <p:nvPr>
            <p:ph type="ftr" sz="quarter" idx="11"/>
          </p:nvPr>
        </p:nvSpPr>
        <p:spPr/>
        <p:txBody>
          <a:bodyPr/>
          <a:lstStyle/>
          <a:p>
            <a:r>
              <a:rPr lang="en-US"/>
              <a:t>Yash Jivani</a:t>
            </a:r>
          </a:p>
        </p:txBody>
      </p:sp>
      <p:sp>
        <p:nvSpPr>
          <p:cNvPr id="6" name="Slide Number Placeholder 5"/>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174658427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EB7ACCDC-018A-4CCA-91AB-AD5EE64CA3D3}" type="datetime1">
              <a:rPr lang="en-US" smtClean="0"/>
              <a:t>3/9/2023</a:t>
            </a:fld>
            <a:endParaRPr lang="en-US"/>
          </a:p>
        </p:txBody>
      </p:sp>
      <p:sp>
        <p:nvSpPr>
          <p:cNvPr id="6" name="Footer Placeholder 5"/>
          <p:cNvSpPr>
            <a:spLocks noGrp="1"/>
          </p:cNvSpPr>
          <p:nvPr>
            <p:ph type="ftr" sz="quarter" idx="11"/>
          </p:nvPr>
        </p:nvSpPr>
        <p:spPr/>
        <p:txBody>
          <a:bodyPr/>
          <a:lstStyle/>
          <a:p>
            <a:r>
              <a:rPr lang="en-US"/>
              <a:t>Yash Jivani</a:t>
            </a:r>
          </a:p>
        </p:txBody>
      </p:sp>
      <p:sp>
        <p:nvSpPr>
          <p:cNvPr id="7" name="Slide Number Placeholder 6"/>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407260476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CD21176-D9FF-48C3-B184-A0EE08D16FB2}" type="datetime1">
              <a:rPr lang="en-US" smtClean="0"/>
              <a:t>3/9/2023</a:t>
            </a:fld>
            <a:endParaRPr lang="en-US"/>
          </a:p>
        </p:txBody>
      </p:sp>
      <p:sp>
        <p:nvSpPr>
          <p:cNvPr id="6" name="Footer Placeholder 5"/>
          <p:cNvSpPr>
            <a:spLocks noGrp="1"/>
          </p:cNvSpPr>
          <p:nvPr>
            <p:ph type="ftr" sz="quarter" idx="11"/>
          </p:nvPr>
        </p:nvSpPr>
        <p:spPr/>
        <p:txBody>
          <a:bodyPr/>
          <a:lstStyle/>
          <a:p>
            <a:r>
              <a:rPr lang="en-US"/>
              <a:t>Yash Jivani</a:t>
            </a:r>
          </a:p>
        </p:txBody>
      </p:sp>
      <p:sp>
        <p:nvSpPr>
          <p:cNvPr id="7" name="Slide Number Placeholder 6"/>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388782105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F48B490-6875-4C7E-97C8-D27DAD4DCCC6}" type="datetime1">
              <a:rPr lang="en-US" smtClean="0"/>
              <a:t>3/9/2023</a:t>
            </a:fld>
            <a:endParaRPr lang="en-US"/>
          </a:p>
        </p:txBody>
      </p:sp>
      <p:sp>
        <p:nvSpPr>
          <p:cNvPr id="5" name="Footer Placeholder 4"/>
          <p:cNvSpPr>
            <a:spLocks noGrp="1"/>
          </p:cNvSpPr>
          <p:nvPr>
            <p:ph type="ftr" sz="quarter" idx="11"/>
          </p:nvPr>
        </p:nvSpPr>
        <p:spPr/>
        <p:txBody>
          <a:bodyPr/>
          <a:lstStyle/>
          <a:p>
            <a:r>
              <a:rPr lang="en-US"/>
              <a:t>Yash Jivani</a:t>
            </a:r>
          </a:p>
        </p:txBody>
      </p:sp>
      <p:sp>
        <p:nvSpPr>
          <p:cNvPr id="6" name="Slide Number Placeholder 5"/>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150253014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E93673D-3348-4B4C-8F57-8461543F016A}" type="datetime1">
              <a:rPr lang="en-US" smtClean="0"/>
              <a:t>3/9/2023</a:t>
            </a:fld>
            <a:endParaRPr lang="en-US"/>
          </a:p>
        </p:txBody>
      </p:sp>
      <p:sp>
        <p:nvSpPr>
          <p:cNvPr id="5" name="Footer Placeholder 4"/>
          <p:cNvSpPr>
            <a:spLocks noGrp="1"/>
          </p:cNvSpPr>
          <p:nvPr>
            <p:ph type="ftr" sz="quarter" idx="11"/>
          </p:nvPr>
        </p:nvSpPr>
        <p:spPr/>
        <p:txBody>
          <a:bodyPr/>
          <a:lstStyle/>
          <a:p>
            <a:r>
              <a:rPr lang="en-US"/>
              <a:t>Yash Jivani</a:t>
            </a:r>
          </a:p>
        </p:txBody>
      </p:sp>
      <p:sp>
        <p:nvSpPr>
          <p:cNvPr id="6" name="Slide Number Placeholder 5"/>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19567218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9B3F823-4AC4-4503-9799-C0E18A0638A3}" type="datetime1">
              <a:rPr lang="en-US" smtClean="0"/>
              <a:t>3/9/2023</a:t>
            </a:fld>
            <a:endParaRPr lang="en-US"/>
          </a:p>
        </p:txBody>
      </p:sp>
      <p:sp>
        <p:nvSpPr>
          <p:cNvPr id="6" name="Footer Placeholder 5"/>
          <p:cNvSpPr>
            <a:spLocks noGrp="1"/>
          </p:cNvSpPr>
          <p:nvPr>
            <p:ph type="ftr" sz="quarter" idx="11"/>
          </p:nvPr>
        </p:nvSpPr>
        <p:spPr/>
        <p:txBody>
          <a:bodyPr/>
          <a:lstStyle/>
          <a:p>
            <a:r>
              <a:rPr lang="en-US"/>
              <a:t>Yash Jivani</a:t>
            </a:r>
          </a:p>
        </p:txBody>
      </p:sp>
      <p:sp>
        <p:nvSpPr>
          <p:cNvPr id="7" name="Slide Number Placeholder 6"/>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30860063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388BE41-726F-4F54-A0DC-0177B72200E3}" type="datetime1">
              <a:rPr lang="en-US" smtClean="0"/>
              <a:t>3/9/2023</a:t>
            </a:fld>
            <a:endParaRPr lang="en-US"/>
          </a:p>
        </p:txBody>
      </p:sp>
      <p:sp>
        <p:nvSpPr>
          <p:cNvPr id="8" name="Footer Placeholder 7"/>
          <p:cNvSpPr>
            <a:spLocks noGrp="1"/>
          </p:cNvSpPr>
          <p:nvPr>
            <p:ph type="ftr" sz="quarter" idx="11"/>
          </p:nvPr>
        </p:nvSpPr>
        <p:spPr/>
        <p:txBody>
          <a:bodyPr/>
          <a:lstStyle/>
          <a:p>
            <a:r>
              <a:rPr lang="en-US"/>
              <a:t>Yash Jivani</a:t>
            </a:r>
          </a:p>
        </p:txBody>
      </p:sp>
      <p:sp>
        <p:nvSpPr>
          <p:cNvPr id="9" name="Slide Number Placeholder 8"/>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22802408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51F5AC5-6C3C-45E8-B0AC-FD5023D3D7AC}" type="datetime1">
              <a:rPr lang="en-US" smtClean="0"/>
              <a:t>3/9/2023</a:t>
            </a:fld>
            <a:endParaRPr lang="en-US"/>
          </a:p>
        </p:txBody>
      </p:sp>
      <p:sp>
        <p:nvSpPr>
          <p:cNvPr id="4" name="Footer Placeholder 3"/>
          <p:cNvSpPr>
            <a:spLocks noGrp="1"/>
          </p:cNvSpPr>
          <p:nvPr>
            <p:ph type="ftr" sz="quarter" idx="11"/>
          </p:nvPr>
        </p:nvSpPr>
        <p:spPr/>
        <p:txBody>
          <a:bodyPr/>
          <a:lstStyle/>
          <a:p>
            <a:r>
              <a:rPr lang="en-US"/>
              <a:t>Yash Jivani</a:t>
            </a:r>
          </a:p>
        </p:txBody>
      </p:sp>
      <p:sp>
        <p:nvSpPr>
          <p:cNvPr id="5" name="Slide Number Placeholder 4"/>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299049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16A7C3A-826C-4D1C-9C9E-E3C36BA5D822}" type="datetime1">
              <a:rPr lang="en-US" smtClean="0"/>
              <a:t>3/9/2023</a:t>
            </a:fld>
            <a:endParaRPr lang="en-US"/>
          </a:p>
        </p:txBody>
      </p:sp>
      <p:sp>
        <p:nvSpPr>
          <p:cNvPr id="3" name="Footer Placeholder 2"/>
          <p:cNvSpPr>
            <a:spLocks noGrp="1"/>
          </p:cNvSpPr>
          <p:nvPr>
            <p:ph type="ftr" sz="quarter" idx="11"/>
          </p:nvPr>
        </p:nvSpPr>
        <p:spPr/>
        <p:txBody>
          <a:bodyPr/>
          <a:lstStyle/>
          <a:p>
            <a:r>
              <a:rPr lang="en-US"/>
              <a:t>Yash Jivani</a:t>
            </a:r>
          </a:p>
        </p:txBody>
      </p:sp>
      <p:sp>
        <p:nvSpPr>
          <p:cNvPr id="4" name="Slide Number Placeholder 3"/>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7053795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4F5F392-698D-4D7E-872B-269F752120E9}" type="datetime1">
              <a:rPr lang="en-US" smtClean="0"/>
              <a:t>3/9/2023</a:t>
            </a:fld>
            <a:endParaRPr lang="en-US"/>
          </a:p>
        </p:txBody>
      </p:sp>
      <p:sp>
        <p:nvSpPr>
          <p:cNvPr id="6" name="Footer Placeholder 5"/>
          <p:cNvSpPr>
            <a:spLocks noGrp="1"/>
          </p:cNvSpPr>
          <p:nvPr>
            <p:ph type="ftr" sz="quarter" idx="11"/>
          </p:nvPr>
        </p:nvSpPr>
        <p:spPr/>
        <p:txBody>
          <a:bodyPr/>
          <a:lstStyle/>
          <a:p>
            <a:r>
              <a:rPr lang="en-US"/>
              <a:t>Yash Jivani</a:t>
            </a:r>
          </a:p>
        </p:txBody>
      </p:sp>
      <p:sp>
        <p:nvSpPr>
          <p:cNvPr id="7" name="Slide Number Placeholder 6"/>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9202213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249CD6A-0213-404D-ADBC-1A55CFE7BA04}" type="datetime1">
              <a:rPr lang="en-US" smtClean="0"/>
              <a:t>3/9/2023</a:t>
            </a:fld>
            <a:endParaRPr lang="en-US"/>
          </a:p>
        </p:txBody>
      </p:sp>
      <p:sp>
        <p:nvSpPr>
          <p:cNvPr id="6" name="Footer Placeholder 5"/>
          <p:cNvSpPr>
            <a:spLocks noGrp="1"/>
          </p:cNvSpPr>
          <p:nvPr>
            <p:ph type="ftr" sz="quarter" idx="11"/>
          </p:nvPr>
        </p:nvSpPr>
        <p:spPr/>
        <p:txBody>
          <a:bodyPr/>
          <a:lstStyle/>
          <a:p>
            <a:r>
              <a:rPr lang="en-US"/>
              <a:t>Yash Jivani</a:t>
            </a:r>
          </a:p>
        </p:txBody>
      </p:sp>
      <p:sp>
        <p:nvSpPr>
          <p:cNvPr id="7" name="Slide Number Placeholder 6"/>
          <p:cNvSpPr>
            <a:spLocks noGrp="1"/>
          </p:cNvSpPr>
          <p:nvPr>
            <p:ph type="sldNum" sz="quarter" idx="12"/>
          </p:nvPr>
        </p:nvSpPr>
        <p:spPr/>
        <p:txBody>
          <a:bodyPr/>
          <a:lstStyle/>
          <a:p>
            <a:fld id="{3ED678AB-02B0-41B4-AC9A-DED9BD329528}" type="slidenum">
              <a:rPr lang="en-US" smtClean="0"/>
              <a:t>‹#›</a:t>
            </a:fld>
            <a:endParaRPr lang="en-US"/>
          </a:p>
        </p:txBody>
      </p:sp>
    </p:spTree>
    <p:extLst>
      <p:ext uri="{BB962C8B-B14F-4D97-AF65-F5344CB8AC3E}">
        <p14:creationId xmlns:p14="http://schemas.microsoft.com/office/powerpoint/2010/main" val="1465230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3.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1.emf"/><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ags" Target="../tags/tag4.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1.emf"/><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accent6">
                <a:lumMod val="5000"/>
                <a:lumOff val="95000"/>
              </a:schemeClr>
            </a:gs>
            <a:gs pos="74000">
              <a:schemeClr val="accent6">
                <a:lumMod val="45000"/>
                <a:lumOff val="55000"/>
              </a:schemeClr>
            </a:gs>
            <a:gs pos="83000">
              <a:schemeClr val="accent6">
                <a:lumMod val="45000"/>
                <a:lumOff val="55000"/>
              </a:schemeClr>
            </a:gs>
            <a:gs pos="100000">
              <a:schemeClr val="accent6">
                <a:lumMod val="30000"/>
                <a:lumOff val="70000"/>
              </a:schemeClr>
            </a:gs>
          </a:gsLst>
          <a:lin ang="5400000" scaled="1"/>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A782C6A-9D86-4CB1-A04B-06B8CD4C7653}" type="datetime1">
              <a:rPr lang="en-US" smtClean="0"/>
              <a:t>3/9/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Yash Jivani</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ED678AB-02B0-41B4-AC9A-DED9BD329528}" type="slidenum">
              <a:rPr lang="en-US" smtClean="0"/>
              <a:t>‹#›</a:t>
            </a:fld>
            <a:endParaRPr lang="en-US"/>
          </a:p>
        </p:txBody>
      </p:sp>
      <p:graphicFrame>
        <p:nvGraphicFramePr>
          <p:cNvPr id="7" name="Object 6" hidden="1">
            <a:extLst>
              <a:ext uri="{FF2B5EF4-FFF2-40B4-BE49-F238E27FC236}">
                <a16:creationId xmlns:a16="http://schemas.microsoft.com/office/drawing/2014/main" id="{13C41B2D-4979-C5ED-B857-50AA124652D5}"/>
              </a:ext>
            </a:extLst>
          </p:cNvPr>
          <p:cNvGraphicFramePr>
            <a:graphicFrameLocks noChangeAspect="1"/>
          </p:cNvGraphicFramePr>
          <p:nvPr userDrawn="1">
            <p:custDataLst>
              <p:tags r:id="rId13"/>
            </p:custDataLst>
            <p:extLst>
              <p:ext uri="{D42A27DB-BD31-4B8C-83A1-F6EECF244321}">
                <p14:modId xmlns:p14="http://schemas.microsoft.com/office/powerpoint/2010/main" val="2115777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26" imgH="428" progId="TCLayout.ActiveDocument.1">
                  <p:embed/>
                </p:oleObj>
              </mc:Choice>
              <mc:Fallback>
                <p:oleObj name="think-cell Slide" r:id="rId14" imgW="426" imgH="428" progId="TCLayout.ActiveDocument.1">
                  <p:embed/>
                  <p:pic>
                    <p:nvPicPr>
                      <p:cNvPr id="7" name="Object 6" hidden="1">
                        <a:extLst>
                          <a:ext uri="{FF2B5EF4-FFF2-40B4-BE49-F238E27FC236}">
                            <a16:creationId xmlns:a16="http://schemas.microsoft.com/office/drawing/2014/main" id="{13C41B2D-4979-C5ED-B857-50AA124652D5}"/>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29446538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2B2A485-8B08-466D-9325-576A91A604D5}" type="datetime1">
              <a:rPr lang="en-US" smtClean="0"/>
              <a:t>3/9/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Yash Jivani</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ED678AB-02B0-41B4-AC9A-DED9BD329528}" type="slidenum">
              <a:rPr lang="en-US" smtClean="0"/>
              <a:t>‹#›</a:t>
            </a:fld>
            <a:endParaRPr lang="en-US"/>
          </a:p>
        </p:txBody>
      </p:sp>
      <p:graphicFrame>
        <p:nvGraphicFramePr>
          <p:cNvPr id="7" name="Object 6" hidden="1">
            <a:extLst>
              <a:ext uri="{FF2B5EF4-FFF2-40B4-BE49-F238E27FC236}">
                <a16:creationId xmlns:a16="http://schemas.microsoft.com/office/drawing/2014/main" id="{FE44696C-BE8C-BDC8-AC70-21F44D7E7C59}"/>
              </a:ext>
            </a:extLst>
          </p:cNvPr>
          <p:cNvGraphicFramePr>
            <a:graphicFrameLocks noChangeAspect="1"/>
          </p:cNvGraphicFramePr>
          <p:nvPr userDrawn="1">
            <p:custDataLst>
              <p:tags r:id="rId13"/>
            </p:custDataLst>
            <p:extLst>
              <p:ext uri="{D42A27DB-BD31-4B8C-83A1-F6EECF244321}">
                <p14:modId xmlns:p14="http://schemas.microsoft.com/office/powerpoint/2010/main" val="606191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26" imgH="428" progId="TCLayout.ActiveDocument.1">
                  <p:embed/>
                </p:oleObj>
              </mc:Choice>
              <mc:Fallback>
                <p:oleObj name="think-cell Slide" r:id="rId14" imgW="426" imgH="428" progId="TCLayout.ActiveDocument.1">
                  <p:embed/>
                  <p:pic>
                    <p:nvPicPr>
                      <p:cNvPr id="7" name="Object 6" hidden="1">
                        <a:extLst>
                          <a:ext uri="{FF2B5EF4-FFF2-40B4-BE49-F238E27FC236}">
                            <a16:creationId xmlns:a16="http://schemas.microsoft.com/office/drawing/2014/main" id="{FE44696C-BE8C-BDC8-AC70-21F44D7E7C59}"/>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662918426"/>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21C1A69-C829-4B8E-8916-9E9DA01AE5B0}" type="datetime1">
              <a:rPr lang="en-US" smtClean="0"/>
              <a:t>3/9/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Yash Jivani</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ED678AB-02B0-41B4-AC9A-DED9BD329528}" type="slidenum">
              <a:rPr lang="en-US" smtClean="0"/>
              <a:t>‹#›</a:t>
            </a:fld>
            <a:endParaRPr lang="en-US"/>
          </a:p>
        </p:txBody>
      </p:sp>
      <p:graphicFrame>
        <p:nvGraphicFramePr>
          <p:cNvPr id="7" name="Object 6" hidden="1">
            <a:extLst>
              <a:ext uri="{FF2B5EF4-FFF2-40B4-BE49-F238E27FC236}">
                <a16:creationId xmlns:a16="http://schemas.microsoft.com/office/drawing/2014/main" id="{A0E130D0-DD15-87A5-6473-4A3AE0903C31}"/>
              </a:ext>
            </a:extLst>
          </p:cNvPr>
          <p:cNvGraphicFramePr>
            <a:graphicFrameLocks noChangeAspect="1"/>
          </p:cNvGraphicFramePr>
          <p:nvPr userDrawn="1">
            <p:custDataLst>
              <p:tags r:id="rId13"/>
            </p:custDataLst>
            <p:extLst>
              <p:ext uri="{D42A27DB-BD31-4B8C-83A1-F6EECF244321}">
                <p14:modId xmlns:p14="http://schemas.microsoft.com/office/powerpoint/2010/main" val="606191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26" imgH="428" progId="TCLayout.ActiveDocument.1">
                  <p:embed/>
                </p:oleObj>
              </mc:Choice>
              <mc:Fallback>
                <p:oleObj name="think-cell Slide" r:id="rId14" imgW="426" imgH="428" progId="TCLayout.ActiveDocument.1">
                  <p:embed/>
                  <p:pic>
                    <p:nvPicPr>
                      <p:cNvPr id="7" name="Object 6" hidden="1">
                        <a:extLst>
                          <a:ext uri="{FF2B5EF4-FFF2-40B4-BE49-F238E27FC236}">
                            <a16:creationId xmlns:a16="http://schemas.microsoft.com/office/drawing/2014/main" id="{A0E130D0-DD15-87A5-6473-4A3AE0903C31}"/>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163503415"/>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oleObject" Target="../embeddings/oleObject4.bin"/><Relationship Id="rId7" Type="http://schemas.openxmlformats.org/officeDocument/2006/relationships/image" Target="../media/image4.png"/><Relationship Id="rId2" Type="http://schemas.openxmlformats.org/officeDocument/2006/relationships/slideLayout" Target="../slideLayouts/slideLayout12.xml"/><Relationship Id="rId1" Type="http://schemas.openxmlformats.org/officeDocument/2006/relationships/tags" Target="../tags/tag5.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 Id="rId9"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21.png"/><Relationship Id="rId2" Type="http://schemas.openxmlformats.org/officeDocument/2006/relationships/slideLayout" Target="../slideLayouts/slideLayout24.xml"/><Relationship Id="rId1" Type="http://schemas.openxmlformats.org/officeDocument/2006/relationships/tags" Target="../tags/tag13.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5.xml"/><Relationship Id="rId2" Type="http://schemas.openxmlformats.org/officeDocument/2006/relationships/slideLayout" Target="../slideLayouts/slideLayout24.xml"/><Relationship Id="rId1" Type="http://schemas.openxmlformats.org/officeDocument/2006/relationships/tags" Target="../tags/tag14.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2.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6.xml"/><Relationship Id="rId7" Type="http://schemas.openxmlformats.org/officeDocument/2006/relationships/hyperlink" Target="https://help.tableau.com/current/pro/desktop/en-us/formatting_editaxes.htm#Transform" TargetMode="External"/><Relationship Id="rId2" Type="http://schemas.openxmlformats.org/officeDocument/2006/relationships/slideLayout" Target="../slideLayouts/slideLayout24.xml"/><Relationship Id="rId1" Type="http://schemas.openxmlformats.org/officeDocument/2006/relationships/tags" Target="../tags/tag15.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3.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notesSlide" Target="../notesSlides/notesSlide7.xml"/><Relationship Id="rId2" Type="http://schemas.openxmlformats.org/officeDocument/2006/relationships/slideLayout" Target="../slideLayouts/slideLayout24.xml"/><Relationship Id="rId1" Type="http://schemas.openxmlformats.org/officeDocument/2006/relationships/tags" Target="../tags/tag16.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15.bin"/><Relationship Id="rId9" Type="http://schemas.openxmlformats.org/officeDocument/2006/relationships/image" Target="../media/image10.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10.png"/><Relationship Id="rId2" Type="http://schemas.openxmlformats.org/officeDocument/2006/relationships/slideLayout" Target="../slideLayouts/slideLayout24.xml"/><Relationship Id="rId1" Type="http://schemas.openxmlformats.org/officeDocument/2006/relationships/tags" Target="../tags/tag17.xml"/><Relationship Id="rId6" Type="http://schemas.openxmlformats.org/officeDocument/2006/relationships/image" Target="../media/image26.pn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5.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notesSlide" Target="../notesSlides/notesSlide9.xml"/><Relationship Id="rId7" Type="http://schemas.openxmlformats.org/officeDocument/2006/relationships/image" Target="../media/image10.png"/><Relationship Id="rId2" Type="http://schemas.openxmlformats.org/officeDocument/2006/relationships/slideLayout" Target="../slideLayouts/slideLayout24.xml"/><Relationship Id="rId1" Type="http://schemas.openxmlformats.org/officeDocument/2006/relationships/tags" Target="../tags/tag18.xml"/><Relationship Id="rId6" Type="http://schemas.openxmlformats.org/officeDocument/2006/relationships/image" Target="../media/image27.pn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4.xml"/><Relationship Id="rId1" Type="http://schemas.openxmlformats.org/officeDocument/2006/relationships/tags" Target="../tags/tag6.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10.png"/><Relationship Id="rId2" Type="http://schemas.openxmlformats.org/officeDocument/2006/relationships/slideLayout" Target="../slideLayouts/slideLayout24.xml"/><Relationship Id="rId1" Type="http://schemas.openxmlformats.org/officeDocument/2006/relationships/tags" Target="../tags/tag7.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10.png"/><Relationship Id="rId2" Type="http://schemas.openxmlformats.org/officeDocument/2006/relationships/slideLayout" Target="../slideLayouts/slideLayout24.xml"/><Relationship Id="rId1" Type="http://schemas.openxmlformats.org/officeDocument/2006/relationships/tags" Target="../tags/tag8.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10.png"/><Relationship Id="rId2" Type="http://schemas.openxmlformats.org/officeDocument/2006/relationships/slideLayout" Target="../slideLayouts/slideLayout24.xml"/><Relationship Id="rId1" Type="http://schemas.openxmlformats.org/officeDocument/2006/relationships/tags" Target="../tags/tag9.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15.png"/><Relationship Id="rId2" Type="http://schemas.openxmlformats.org/officeDocument/2006/relationships/slideLayout" Target="../slideLayouts/slideLayout24.xml"/><Relationship Id="rId1" Type="http://schemas.openxmlformats.org/officeDocument/2006/relationships/tags" Target="../tags/tag10.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4.xml"/><Relationship Id="rId1" Type="http://schemas.openxmlformats.org/officeDocument/2006/relationships/tags" Target="../tags/tag11.xml"/><Relationship Id="rId5" Type="http://schemas.openxmlformats.org/officeDocument/2006/relationships/image" Target="../media/image16.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4.xml"/><Relationship Id="rId1" Type="http://schemas.openxmlformats.org/officeDocument/2006/relationships/tags" Target="../tags/tag1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68B06D2-0E90-1975-211B-186C89027CF8}"/>
              </a:ext>
            </a:extLst>
          </p:cNvPr>
          <p:cNvGraphicFramePr>
            <a:graphicFrameLocks noChangeAspect="1"/>
          </p:cNvGraphicFramePr>
          <p:nvPr>
            <p:custDataLst>
              <p:tags r:id="rId1"/>
            </p:custDataLst>
            <p:extLst>
              <p:ext uri="{D42A27DB-BD31-4B8C-83A1-F6EECF244321}">
                <p14:modId xmlns:p14="http://schemas.microsoft.com/office/powerpoint/2010/main" val="1229106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9" name="Object 8" hidden="1">
                        <a:extLst>
                          <a:ext uri="{FF2B5EF4-FFF2-40B4-BE49-F238E27FC236}">
                            <a16:creationId xmlns:a16="http://schemas.microsoft.com/office/drawing/2014/main" id="{068B06D2-0E90-1975-211B-186C89027C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854D7D-FA29-0135-59B8-72DCA682D6E8}"/>
              </a:ext>
            </a:extLst>
          </p:cNvPr>
          <p:cNvSpPr>
            <a:spLocks noGrp="1"/>
          </p:cNvSpPr>
          <p:nvPr>
            <p:ph type="ctrTitle"/>
          </p:nvPr>
        </p:nvSpPr>
        <p:spPr>
          <a:xfrm>
            <a:off x="162662" y="73179"/>
            <a:ext cx="11385756" cy="1156702"/>
          </a:xfrm>
        </p:spPr>
        <p:txBody>
          <a:bodyPr vert="horz">
            <a:noAutofit/>
          </a:bodyPr>
          <a:lstStyle/>
          <a:p>
            <a:r>
              <a:rPr lang="en-US" sz="4800" b="1">
                <a:latin typeface="Times New Roman" panose="02020603050405020304" pitchFamily="18" charset="0"/>
                <a:cs typeface="Times New Roman" panose="02020603050405020304" pitchFamily="18" charset="0"/>
              </a:rPr>
              <a:t>EDA Problem Statement</a:t>
            </a:r>
            <a:endParaRPr lang="en-US" sz="4800"/>
          </a:p>
        </p:txBody>
      </p:sp>
      <p:sp>
        <p:nvSpPr>
          <p:cNvPr id="3" name="Subtitle 2">
            <a:extLst>
              <a:ext uri="{FF2B5EF4-FFF2-40B4-BE49-F238E27FC236}">
                <a16:creationId xmlns:a16="http://schemas.microsoft.com/office/drawing/2014/main" id="{6C1032C0-D591-9107-B93C-53A955A7F168}"/>
              </a:ext>
            </a:extLst>
          </p:cNvPr>
          <p:cNvSpPr>
            <a:spLocks noGrp="1"/>
          </p:cNvSpPr>
          <p:nvPr>
            <p:ph type="subTitle" idx="1"/>
          </p:nvPr>
        </p:nvSpPr>
        <p:spPr>
          <a:xfrm>
            <a:off x="878759" y="4124882"/>
            <a:ext cx="9822425" cy="2732754"/>
          </a:xfrm>
        </p:spPr>
        <p:txBody>
          <a:bodyPr/>
          <a:lstStyle/>
          <a:p>
            <a:pPr marL="342900" indent="-342900" algn="just">
              <a:buFont typeface="Arial" panose="020B0604020202020204" pitchFamily="34" charset="0"/>
              <a:buChar char="•"/>
            </a:pPr>
            <a:r>
              <a:rPr lang="en-US">
                <a:solidFill>
                  <a:schemeClr val="tx1"/>
                </a:solidFill>
                <a:latin typeface="Times New Roman" panose="02020603050405020304" pitchFamily="18" charset="0"/>
                <a:cs typeface="Times New Roman" panose="02020603050405020304" pitchFamily="18" charset="0"/>
              </a:rPr>
              <a:t>The CEO of Very Nice Bank is concerned about customer attrition in their credit card services and wants to proactively address the issue by predicting which customers are most likely to cancel their accounts.</a:t>
            </a:r>
          </a:p>
          <a:p>
            <a:pPr marL="342900" indent="-342900" algn="just">
              <a:buFont typeface="Arial" panose="020B0604020202020204" pitchFamily="34" charset="0"/>
              <a:buChar char="•"/>
            </a:pPr>
            <a:r>
              <a:rPr lang="en-US" sz="2400">
                <a:solidFill>
                  <a:schemeClr val="tx1"/>
                </a:solidFill>
                <a:latin typeface="Times New Roman" panose="02020603050405020304" pitchFamily="18" charset="0"/>
                <a:cs typeface="Times New Roman" panose="02020603050405020304" pitchFamily="18" charset="0"/>
              </a:rPr>
              <a:t>How can we address the issue of customer attrition in the credit card services provided by Very Nice Bank Inc?</a:t>
            </a:r>
          </a:p>
          <a:p>
            <a:pPr marL="342900" indent="-342900" algn="just">
              <a:buFont typeface="Arial" panose="020B0604020202020204" pitchFamily="34" charset="0"/>
              <a:buChar char="•"/>
            </a:pPr>
            <a:endParaRPr lang="en-US">
              <a:solidFill>
                <a:schemeClr val="tx1"/>
              </a:solidFill>
              <a:latin typeface="Times New Roman" panose="02020603050405020304" pitchFamily="18" charset="0"/>
              <a:cs typeface="Times New Roman" panose="02020603050405020304" pitchFamily="18" charset="0"/>
            </a:endParaRPr>
          </a:p>
          <a:p>
            <a:pPr marL="342900" indent="-342900" algn="just">
              <a:buFont typeface="Arial" panose="020B0604020202020204" pitchFamily="34" charset="0"/>
              <a:buChar char="•"/>
            </a:pPr>
            <a:endParaRPr lang="en-US"/>
          </a:p>
        </p:txBody>
      </p:sp>
      <p:grpSp>
        <p:nvGrpSpPr>
          <p:cNvPr id="4" name="Group 3">
            <a:extLst>
              <a:ext uri="{FF2B5EF4-FFF2-40B4-BE49-F238E27FC236}">
                <a16:creationId xmlns:a16="http://schemas.microsoft.com/office/drawing/2014/main" id="{A70662D3-64CB-9426-CA0D-35D016238F55}"/>
              </a:ext>
            </a:extLst>
          </p:cNvPr>
          <p:cNvGrpSpPr/>
          <p:nvPr/>
        </p:nvGrpSpPr>
        <p:grpSpPr>
          <a:xfrm>
            <a:off x="818188" y="1413891"/>
            <a:ext cx="4278716" cy="2597890"/>
            <a:chOff x="1988586" y="4264101"/>
            <a:chExt cx="2314965" cy="1400565"/>
          </a:xfrm>
        </p:grpSpPr>
        <p:pic>
          <p:nvPicPr>
            <p:cNvPr id="5" name="Graphic 4" descr="Walk with solid fill">
              <a:extLst>
                <a:ext uri="{FF2B5EF4-FFF2-40B4-BE49-F238E27FC236}">
                  <a16:creationId xmlns:a16="http://schemas.microsoft.com/office/drawing/2014/main" id="{39F02904-3A7A-53F0-CCA8-CD8FD26CD04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389151" y="4507183"/>
              <a:ext cx="914400" cy="914400"/>
            </a:xfrm>
            <a:prstGeom prst="rect">
              <a:avLst/>
            </a:prstGeom>
          </p:spPr>
        </p:pic>
        <p:pic>
          <p:nvPicPr>
            <p:cNvPr id="6" name="Graphic 5" descr="Group with solid fill">
              <a:extLst>
                <a:ext uri="{FF2B5EF4-FFF2-40B4-BE49-F238E27FC236}">
                  <a16:creationId xmlns:a16="http://schemas.microsoft.com/office/drawing/2014/main" id="{4E4113BC-1B01-7378-8A24-477C1F2B6B0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988586" y="4264101"/>
              <a:ext cx="1400565" cy="1400565"/>
            </a:xfrm>
            <a:prstGeom prst="rect">
              <a:avLst/>
            </a:prstGeom>
          </p:spPr>
        </p:pic>
      </p:grpSp>
      <p:pic>
        <p:nvPicPr>
          <p:cNvPr id="7" name="Picture 2" descr="Are you anxious at the start of the project — discover the secret  simplicity of the business analyst's problem statement. | by Jeffrey Daube  | Medium">
            <a:extLst>
              <a:ext uri="{FF2B5EF4-FFF2-40B4-BE49-F238E27FC236}">
                <a16:creationId xmlns:a16="http://schemas.microsoft.com/office/drawing/2014/main" id="{2D73A41E-0319-D4E2-3D5B-EF1471EB7C3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865195" y="1253456"/>
            <a:ext cx="6090678" cy="29187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32250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94A7EE-C7B6-5E43-2590-120B56C2D9D6}"/>
              </a:ext>
            </a:extLst>
          </p:cNvPr>
          <p:cNvGraphicFramePr>
            <a:graphicFrameLocks noChangeAspect="1"/>
          </p:cNvGraphicFramePr>
          <p:nvPr>
            <p:custDataLst>
              <p:tags r:id="rId1"/>
            </p:custDataLst>
            <p:extLst>
              <p:ext uri="{D42A27DB-BD31-4B8C-83A1-F6EECF244321}">
                <p14:modId xmlns:p14="http://schemas.microsoft.com/office/powerpoint/2010/main" val="1219332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5" name="Object 4" hidden="1">
                        <a:extLst>
                          <a:ext uri="{FF2B5EF4-FFF2-40B4-BE49-F238E27FC236}">
                            <a16:creationId xmlns:a16="http://schemas.microsoft.com/office/drawing/2014/main" id="{2F94A7EE-C7B6-5E43-2590-120B56C2D9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BDD299A4-6202-AD9E-2BB3-C9442A8F84BE}"/>
              </a:ext>
            </a:extLst>
          </p:cNvPr>
          <p:cNvSpPr txBox="1"/>
          <p:nvPr/>
        </p:nvSpPr>
        <p:spPr>
          <a:xfrm>
            <a:off x="10520130" y="6457890"/>
            <a:ext cx="1671870" cy="400110"/>
          </a:xfrm>
          <a:prstGeom prst="rect">
            <a:avLst/>
          </a:prstGeom>
          <a:solidFill>
            <a:schemeClr val="accent6">
              <a:lumMod val="60000"/>
              <a:lumOff val="40000"/>
            </a:schemeClr>
          </a:solidFill>
        </p:spPr>
        <p:txBody>
          <a:bodyPr wrap="square" rtlCol="0">
            <a:spAutoFit/>
          </a:bodyPr>
          <a:lstStyle/>
          <a:p>
            <a:pPr algn="ctr"/>
            <a:r>
              <a:rPr lang="en-US" sz="2000">
                <a:latin typeface="Times New Roman" panose="02020603050405020304" pitchFamily="18" charset="0"/>
                <a:cs typeface="Times New Roman" panose="02020603050405020304" pitchFamily="18" charset="0"/>
              </a:rPr>
              <a:t>- Yash Jivani -</a:t>
            </a:r>
          </a:p>
        </p:txBody>
      </p:sp>
      <p:sp>
        <p:nvSpPr>
          <p:cNvPr id="7" name="Slide Number Placeholder 2">
            <a:extLst>
              <a:ext uri="{FF2B5EF4-FFF2-40B4-BE49-F238E27FC236}">
                <a16:creationId xmlns:a16="http://schemas.microsoft.com/office/drawing/2014/main" id="{4B3C63A5-7884-B081-EB6A-79AA62675221}"/>
              </a:ext>
            </a:extLst>
          </p:cNvPr>
          <p:cNvSpPr txBox="1">
            <a:spLocks/>
          </p:cNvSpPr>
          <p:nvPr/>
        </p:nvSpPr>
        <p:spPr>
          <a:xfrm>
            <a:off x="8763000" y="6092765"/>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ED678AB-02B0-41B4-AC9A-DED9BD329528}" type="slidenum">
              <a:rPr lang="en-US" smtClean="0"/>
              <a:pPr/>
              <a:t>10</a:t>
            </a:fld>
            <a:endParaRPr lang="en-US"/>
          </a:p>
        </p:txBody>
      </p:sp>
      <p:grpSp>
        <p:nvGrpSpPr>
          <p:cNvPr id="12" name="Group 11">
            <a:extLst>
              <a:ext uri="{FF2B5EF4-FFF2-40B4-BE49-F238E27FC236}">
                <a16:creationId xmlns:a16="http://schemas.microsoft.com/office/drawing/2014/main" id="{5E47B012-565C-630E-8E6E-346452C80818}"/>
              </a:ext>
            </a:extLst>
          </p:cNvPr>
          <p:cNvGrpSpPr/>
          <p:nvPr/>
        </p:nvGrpSpPr>
        <p:grpSpPr>
          <a:xfrm>
            <a:off x="1272387" y="1210321"/>
            <a:ext cx="3999011" cy="4882444"/>
            <a:chOff x="1272387" y="1210321"/>
            <a:chExt cx="3999011" cy="4882444"/>
          </a:xfrm>
        </p:grpSpPr>
        <p:pic>
          <p:nvPicPr>
            <p:cNvPr id="9" name="Picture 8">
              <a:extLst>
                <a:ext uri="{FF2B5EF4-FFF2-40B4-BE49-F238E27FC236}">
                  <a16:creationId xmlns:a16="http://schemas.microsoft.com/office/drawing/2014/main" id="{B3A3EDC0-BB8A-11F7-B83B-38E6B8FF7E60}"/>
                </a:ext>
              </a:extLst>
            </p:cNvPr>
            <p:cNvPicPr>
              <a:picLocks noChangeAspect="1"/>
            </p:cNvPicPr>
            <p:nvPr/>
          </p:nvPicPr>
          <p:blipFill>
            <a:blip r:embed="rId5"/>
            <a:stretch>
              <a:fillRect/>
            </a:stretch>
          </p:blipFill>
          <p:spPr>
            <a:xfrm>
              <a:off x="1272387" y="1210321"/>
              <a:ext cx="3999011" cy="4882444"/>
            </a:xfrm>
            <a:prstGeom prst="rect">
              <a:avLst/>
            </a:prstGeom>
            <a:ln>
              <a:solidFill>
                <a:schemeClr val="tx1"/>
              </a:solidFill>
            </a:ln>
          </p:spPr>
        </p:pic>
        <p:pic>
          <p:nvPicPr>
            <p:cNvPr id="10" name="Picture 9">
              <a:extLst>
                <a:ext uri="{FF2B5EF4-FFF2-40B4-BE49-F238E27FC236}">
                  <a16:creationId xmlns:a16="http://schemas.microsoft.com/office/drawing/2014/main" id="{095508AC-8E54-73EB-8008-0F6932890A1F}"/>
                </a:ext>
              </a:extLst>
            </p:cNvPr>
            <p:cNvPicPr>
              <a:picLocks noChangeAspect="1"/>
            </p:cNvPicPr>
            <p:nvPr/>
          </p:nvPicPr>
          <p:blipFill rotWithShape="1">
            <a:blip r:embed="rId6"/>
            <a:srcRect t="6586" r="14310"/>
            <a:stretch/>
          </p:blipFill>
          <p:spPr>
            <a:xfrm>
              <a:off x="3671092" y="5396477"/>
              <a:ext cx="1600306" cy="696287"/>
            </a:xfrm>
            <a:prstGeom prst="rect">
              <a:avLst/>
            </a:prstGeom>
            <a:ln>
              <a:solidFill>
                <a:schemeClr val="tx1"/>
              </a:solidFill>
            </a:ln>
          </p:spPr>
        </p:pic>
      </p:grpSp>
      <p:grpSp>
        <p:nvGrpSpPr>
          <p:cNvPr id="13" name="Group 12">
            <a:extLst>
              <a:ext uri="{FF2B5EF4-FFF2-40B4-BE49-F238E27FC236}">
                <a16:creationId xmlns:a16="http://schemas.microsoft.com/office/drawing/2014/main" id="{1F8AE58F-AFC3-8D77-A89E-8718B979E280}"/>
              </a:ext>
            </a:extLst>
          </p:cNvPr>
          <p:cNvGrpSpPr/>
          <p:nvPr/>
        </p:nvGrpSpPr>
        <p:grpSpPr>
          <a:xfrm>
            <a:off x="6920603" y="1176822"/>
            <a:ext cx="3999011" cy="4915943"/>
            <a:chOff x="6920603" y="1176822"/>
            <a:chExt cx="3999011" cy="4915943"/>
          </a:xfrm>
        </p:grpSpPr>
        <p:pic>
          <p:nvPicPr>
            <p:cNvPr id="8" name="Picture 7">
              <a:extLst>
                <a:ext uri="{FF2B5EF4-FFF2-40B4-BE49-F238E27FC236}">
                  <a16:creationId xmlns:a16="http://schemas.microsoft.com/office/drawing/2014/main" id="{8D937ED3-12E7-0A94-532E-9F624E4EBE81}"/>
                </a:ext>
              </a:extLst>
            </p:cNvPr>
            <p:cNvPicPr>
              <a:picLocks noChangeAspect="1"/>
            </p:cNvPicPr>
            <p:nvPr/>
          </p:nvPicPr>
          <p:blipFill>
            <a:blip r:embed="rId7"/>
            <a:stretch>
              <a:fillRect/>
            </a:stretch>
          </p:blipFill>
          <p:spPr>
            <a:xfrm>
              <a:off x="6920603" y="1176822"/>
              <a:ext cx="3999011" cy="4915943"/>
            </a:xfrm>
            <a:prstGeom prst="rect">
              <a:avLst/>
            </a:prstGeom>
            <a:ln>
              <a:solidFill>
                <a:schemeClr val="tx1"/>
              </a:solidFill>
            </a:ln>
          </p:spPr>
        </p:pic>
        <p:pic>
          <p:nvPicPr>
            <p:cNvPr id="11" name="Picture 10">
              <a:extLst>
                <a:ext uri="{FF2B5EF4-FFF2-40B4-BE49-F238E27FC236}">
                  <a16:creationId xmlns:a16="http://schemas.microsoft.com/office/drawing/2014/main" id="{FCA794B7-0A5E-6386-34C0-150B1E07297B}"/>
                </a:ext>
              </a:extLst>
            </p:cNvPr>
            <p:cNvPicPr>
              <a:picLocks noChangeAspect="1"/>
            </p:cNvPicPr>
            <p:nvPr/>
          </p:nvPicPr>
          <p:blipFill rotWithShape="1">
            <a:blip r:embed="rId6"/>
            <a:srcRect t="6586" r="14310"/>
            <a:stretch/>
          </p:blipFill>
          <p:spPr>
            <a:xfrm>
              <a:off x="9319307" y="5396478"/>
              <a:ext cx="1600306" cy="696287"/>
            </a:xfrm>
            <a:prstGeom prst="rect">
              <a:avLst/>
            </a:prstGeom>
            <a:ln>
              <a:solidFill>
                <a:schemeClr val="tx1"/>
              </a:solidFill>
            </a:ln>
          </p:spPr>
        </p:pic>
      </p:grpSp>
      <p:sp>
        <p:nvSpPr>
          <p:cNvPr id="15" name="Title 1">
            <a:extLst>
              <a:ext uri="{FF2B5EF4-FFF2-40B4-BE49-F238E27FC236}">
                <a16:creationId xmlns:a16="http://schemas.microsoft.com/office/drawing/2014/main" id="{0F0D87FF-B889-3DF1-B78F-BCF208B5322B}"/>
              </a:ext>
            </a:extLst>
          </p:cNvPr>
          <p:cNvSpPr txBox="1">
            <a:spLocks/>
          </p:cNvSpPr>
          <p:nvPr/>
        </p:nvSpPr>
        <p:spPr>
          <a:xfrm>
            <a:off x="3759199" y="92432"/>
            <a:ext cx="4673602" cy="1030515"/>
          </a:xfrm>
          <a:prstGeom prst="rect">
            <a:avLst/>
          </a:prstGeom>
          <a:solidFill>
            <a:schemeClr val="accent6">
              <a:lumMod val="60000"/>
              <a:lumOff val="40000"/>
            </a:schemeClr>
          </a:solidFill>
        </p:spPr>
        <p:style>
          <a:lnRef idx="1">
            <a:schemeClr val="accent6"/>
          </a:lnRef>
          <a:fillRef idx="2">
            <a:schemeClr val="accent6"/>
          </a:fillRef>
          <a:effectRef idx="1">
            <a:schemeClr val="accent6"/>
          </a:effectRef>
          <a:fontRef idx="minor">
            <a:schemeClr val="dk1"/>
          </a:fontRef>
        </p:style>
        <p:txBody>
          <a:bodyPr vert="horz" lIns="91440" tIns="45720" rIns="91440" bIns="45720" rtlCol="0" anchor="ctr">
            <a:normAutofit/>
          </a:bodyPr>
          <a:lstStyle>
            <a:defPPr>
              <a:defRPr lang="en-US"/>
            </a:defPPr>
            <a:lvl1pPr algn="ctr">
              <a:lnSpc>
                <a:spcPct val="90000"/>
              </a:lnSpc>
              <a:spcBef>
                <a:spcPct val="0"/>
              </a:spcBef>
              <a:buNone/>
              <a:defRPr sz="4400">
                <a:solidFill>
                  <a:schemeClr val="dk1"/>
                </a:solidFill>
                <a:effectLst/>
                <a:latin typeface="Times New Roman" panose="02020603050405020304" pitchFamily="18" charset="0"/>
                <a:ea typeface="Times New Roman" panose="02020603050405020304" pitchFamily="18"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ctr"/>
            <a:r>
              <a:rPr lang="en-US" sz="3200">
                <a:latin typeface="Times New Roman" panose="02020603050405020304" pitchFamily="18" charset="0"/>
                <a:ea typeface="Times New Roman" panose="02020603050405020304" pitchFamily="18" charset="0"/>
              </a:rPr>
              <a:t>Total Relationship Count</a:t>
            </a:r>
          </a:p>
        </p:txBody>
      </p:sp>
      <p:sp>
        <p:nvSpPr>
          <p:cNvPr id="16" name="Content Placeholder 2">
            <a:extLst>
              <a:ext uri="{FF2B5EF4-FFF2-40B4-BE49-F238E27FC236}">
                <a16:creationId xmlns:a16="http://schemas.microsoft.com/office/drawing/2014/main" id="{3512A412-E1A3-1EDB-4AD5-3D4F7E917F0C}"/>
              </a:ext>
            </a:extLst>
          </p:cNvPr>
          <p:cNvSpPr txBox="1">
            <a:spLocks/>
          </p:cNvSpPr>
          <p:nvPr/>
        </p:nvSpPr>
        <p:spPr>
          <a:xfrm>
            <a:off x="2634790" y="6183328"/>
            <a:ext cx="7001935" cy="549124"/>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a:latin typeface="Times New Roman" panose="02020603050405020304" pitchFamily="18" charset="0"/>
                <a:cs typeface="Times New Roman" panose="02020603050405020304" pitchFamily="18" charset="0"/>
              </a:rPr>
              <a:t>Either Male or Female customer using products/services count-1 or 2 are churning</a:t>
            </a:r>
          </a:p>
        </p:txBody>
      </p:sp>
    </p:spTree>
    <p:extLst>
      <p:ext uri="{BB962C8B-B14F-4D97-AF65-F5344CB8AC3E}">
        <p14:creationId xmlns:p14="http://schemas.microsoft.com/office/powerpoint/2010/main" val="26195850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4E264FB-C7E0-2BA4-5C0B-D52B2E35A88C}"/>
              </a:ext>
            </a:extLst>
          </p:cNvPr>
          <p:cNvGraphicFramePr>
            <a:graphicFrameLocks noChangeAspect="1"/>
          </p:cNvGraphicFramePr>
          <p:nvPr>
            <p:custDataLst>
              <p:tags r:id="rId1"/>
            </p:custDataLst>
            <p:extLst>
              <p:ext uri="{D42A27DB-BD31-4B8C-83A1-F6EECF244321}">
                <p14:modId xmlns:p14="http://schemas.microsoft.com/office/powerpoint/2010/main" val="1055428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8" progId="TCLayout.ActiveDocument.1">
                  <p:embed/>
                </p:oleObj>
              </mc:Choice>
              <mc:Fallback>
                <p:oleObj name="think-cell Slide" r:id="rId4" imgW="426" imgH="428" progId="TCLayout.ActiveDocument.1">
                  <p:embed/>
                  <p:pic>
                    <p:nvPicPr>
                      <p:cNvPr id="6" name="Object 5" hidden="1">
                        <a:extLst>
                          <a:ext uri="{FF2B5EF4-FFF2-40B4-BE49-F238E27FC236}">
                            <a16:creationId xmlns:a16="http://schemas.microsoft.com/office/drawing/2014/main" id="{74E264FB-C7E0-2BA4-5C0B-D52B2E35A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62E56528-7AA0-8692-2611-E6770551BF22}"/>
              </a:ext>
            </a:extLst>
          </p:cNvPr>
          <p:cNvPicPr>
            <a:picLocks noChangeAspect="1"/>
          </p:cNvPicPr>
          <p:nvPr/>
        </p:nvPicPr>
        <p:blipFill>
          <a:blip r:embed="rId6"/>
          <a:stretch>
            <a:fillRect/>
          </a:stretch>
        </p:blipFill>
        <p:spPr>
          <a:xfrm>
            <a:off x="40196" y="0"/>
            <a:ext cx="11442583" cy="6853586"/>
          </a:xfrm>
          <a:prstGeom prst="rect">
            <a:avLst/>
          </a:prstGeom>
        </p:spPr>
      </p:pic>
      <p:grpSp>
        <p:nvGrpSpPr>
          <p:cNvPr id="11" name="Group 10">
            <a:extLst>
              <a:ext uri="{FF2B5EF4-FFF2-40B4-BE49-F238E27FC236}">
                <a16:creationId xmlns:a16="http://schemas.microsoft.com/office/drawing/2014/main" id="{A43372E7-E99D-31E8-8FFF-CABE458B7A18}"/>
              </a:ext>
            </a:extLst>
          </p:cNvPr>
          <p:cNvGrpSpPr/>
          <p:nvPr/>
        </p:nvGrpSpPr>
        <p:grpSpPr>
          <a:xfrm>
            <a:off x="6096000" y="2923020"/>
            <a:ext cx="5587068" cy="842282"/>
            <a:chOff x="3338819" y="1543574"/>
            <a:chExt cx="5943855" cy="842282"/>
          </a:xfrm>
        </p:grpSpPr>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18A465DD-8D5E-A98F-2EDB-E5959D546CF7}"/>
                    </a:ext>
                  </a:extLst>
                </p:cNvPr>
                <p:cNvSpPr txBox="1"/>
                <p:nvPr/>
              </p:nvSpPr>
              <p:spPr>
                <a:xfrm>
                  <a:off x="3338819" y="1543574"/>
                  <a:ext cx="855676" cy="842282"/>
                </a:xfrm>
                <a:prstGeom prst="rect">
                  <a:avLst/>
                </a:prstGeom>
                <a:noFill/>
              </p:spPr>
              <p:txBody>
                <a:bodyPr wrap="square" rtlCol="0">
                  <a:spAutoFit/>
                </a:bodyPr>
                <a:lstStyle/>
                <a:p>
                  <a:r>
                    <a:rPr lang="en-US">
                      <a:solidFill>
                        <a:srgbClr val="000000"/>
                      </a:solidFill>
                      <a:effectLst/>
                      <a:latin typeface="Calibri" panose="020F0502020204030204" pitchFamily="34" charset="0"/>
                      <a:ea typeface="Times New Roman" panose="02020603050405020304" pitchFamily="18" charset="0"/>
                    </a:rPr>
                    <a:t>= </a:t>
                  </a:r>
                  <a14:m>
                    <m:oMath xmlns:m="http://schemas.openxmlformats.org/officeDocument/2006/math">
                      <m:box>
                        <m:boxPr>
                          <m:ctrlPr>
                            <a:rPr lang="en-US" sz="4000" b="0" i="1" smtClean="0">
                              <a:solidFill>
                                <a:srgbClr val="000000"/>
                              </a:solidFill>
                              <a:effectLst/>
                              <a:latin typeface="Cambria Math" panose="02040503050406030204" pitchFamily="18" charset="0"/>
                              <a:ea typeface="Times New Roman" panose="02020603050405020304" pitchFamily="18" charset="0"/>
                            </a:rPr>
                          </m:ctrlPr>
                        </m:boxPr>
                        <m:e>
                          <m:argPr>
                            <m:argSz m:val="-1"/>
                          </m:argPr>
                          <m:f>
                            <m:fPr>
                              <m:ctrlPr>
                                <a:rPr lang="en-US" sz="4000" b="0" i="1" smtClean="0">
                                  <a:solidFill>
                                    <a:srgbClr val="000000"/>
                                  </a:solidFill>
                                  <a:effectLst/>
                                  <a:latin typeface="Cambria Math" panose="02040503050406030204" pitchFamily="18" charset="0"/>
                                  <a:ea typeface="Times New Roman" panose="02020603050405020304" pitchFamily="18" charset="0"/>
                                </a:rPr>
                              </m:ctrlPr>
                            </m:fPr>
                            <m:num>
                              <m:r>
                                <a:rPr lang="en-US" sz="4000" b="0" i="1" smtClean="0">
                                  <a:solidFill>
                                    <a:srgbClr val="000000"/>
                                  </a:solidFill>
                                  <a:effectLst/>
                                  <a:latin typeface="Cambria Math" panose="02040503050406030204" pitchFamily="18" charset="0"/>
                                  <a:ea typeface="Times New Roman" panose="02020603050405020304" pitchFamily="18" charset="0"/>
                                </a:rPr>
                                <m:t>𝑄</m:t>
                              </m:r>
                              <m:r>
                                <a:rPr lang="en-US" sz="4000" b="0" i="1" smtClean="0">
                                  <a:solidFill>
                                    <a:srgbClr val="000000"/>
                                  </a:solidFill>
                                  <a:effectLst/>
                                  <a:latin typeface="Cambria Math" panose="02040503050406030204" pitchFamily="18" charset="0"/>
                                  <a:ea typeface="Times New Roman" panose="02020603050405020304" pitchFamily="18" charset="0"/>
                                </a:rPr>
                                <m:t>4</m:t>
                              </m:r>
                            </m:num>
                            <m:den>
                              <m:r>
                                <a:rPr lang="en-US" sz="4000" b="0" i="1" smtClean="0">
                                  <a:solidFill>
                                    <a:srgbClr val="000000"/>
                                  </a:solidFill>
                                  <a:effectLst/>
                                  <a:latin typeface="Cambria Math" panose="02040503050406030204" pitchFamily="18" charset="0"/>
                                  <a:ea typeface="Times New Roman" panose="02020603050405020304" pitchFamily="18" charset="0"/>
                                </a:rPr>
                                <m:t>𝑄</m:t>
                              </m:r>
                              <m:r>
                                <a:rPr lang="en-US" sz="4000" b="0" i="1" smtClean="0">
                                  <a:solidFill>
                                    <a:srgbClr val="000000"/>
                                  </a:solidFill>
                                  <a:effectLst/>
                                  <a:latin typeface="Cambria Math" panose="02040503050406030204" pitchFamily="18" charset="0"/>
                                  <a:ea typeface="Times New Roman" panose="02020603050405020304" pitchFamily="18" charset="0"/>
                                </a:rPr>
                                <m:t>1</m:t>
                              </m:r>
                            </m:den>
                          </m:f>
                        </m:e>
                      </m:box>
                    </m:oMath>
                  </a14:m>
                  <a:endParaRPr lang="en-US">
                    <a:latin typeface="Calibri" panose="020F0502020204030204" pitchFamily="34" charset="0"/>
                    <a:ea typeface="Calibri" panose="020F0502020204030204" pitchFamily="34" charset="0"/>
                    <a:cs typeface="Shruti" panose="020B0502040204020203" pitchFamily="34" charset="0"/>
                  </a:endParaRPr>
                </a:p>
              </p:txBody>
            </p:sp>
          </mc:Choice>
          <mc:Fallback xmlns="">
            <p:sp>
              <p:nvSpPr>
                <p:cNvPr id="7" name="TextBox 6">
                  <a:extLst>
                    <a:ext uri="{FF2B5EF4-FFF2-40B4-BE49-F238E27FC236}">
                      <a16:creationId xmlns:a16="http://schemas.microsoft.com/office/drawing/2014/main" id="{18A465DD-8D5E-A98F-2EDB-E5959D546CF7}"/>
                    </a:ext>
                  </a:extLst>
                </p:cNvPr>
                <p:cNvSpPr txBox="1">
                  <a:spLocks noRot="1" noChangeAspect="1" noMove="1" noResize="1" noEditPoints="1" noAdjustHandles="1" noChangeArrowheads="1" noChangeShapeType="1" noTextEdit="1"/>
                </p:cNvSpPr>
                <p:nvPr/>
              </p:nvSpPr>
              <p:spPr>
                <a:xfrm>
                  <a:off x="3338819" y="1543574"/>
                  <a:ext cx="855676" cy="842282"/>
                </a:xfrm>
                <a:prstGeom prst="rect">
                  <a:avLst/>
                </a:prstGeom>
                <a:blipFill>
                  <a:blip r:embed="rId8"/>
                  <a:stretch>
                    <a:fillRect l="-6061"/>
                  </a:stretch>
                </a:blipFill>
              </p:spPr>
              <p:txBody>
                <a:bodyPr/>
                <a:lstStyle/>
                <a:p>
                  <a:r>
                    <a:rPr lang="en-US">
                      <a:noFill/>
                    </a:rPr>
                    <a:t> </a:t>
                  </a:r>
                </a:p>
              </p:txBody>
            </p:sp>
          </mc:Fallback>
        </mc:AlternateContent>
        <p:sp>
          <p:nvSpPr>
            <p:cNvPr id="8" name="TextBox 7">
              <a:extLst>
                <a:ext uri="{FF2B5EF4-FFF2-40B4-BE49-F238E27FC236}">
                  <a16:creationId xmlns:a16="http://schemas.microsoft.com/office/drawing/2014/main" id="{9766BF04-C366-6E9D-4BE2-D22E22311461}"/>
                </a:ext>
              </a:extLst>
            </p:cNvPr>
            <p:cNvSpPr txBox="1"/>
            <p:nvPr/>
          </p:nvSpPr>
          <p:spPr>
            <a:xfrm>
              <a:off x="4099420" y="1610686"/>
              <a:ext cx="5183254" cy="769441"/>
            </a:xfrm>
            <a:prstGeom prst="rect">
              <a:avLst/>
            </a:prstGeom>
            <a:noFill/>
          </p:spPr>
          <p:txBody>
            <a:bodyPr wrap="square" rtlCol="0">
              <a:spAutoFit/>
            </a:bodyPr>
            <a:lstStyle/>
            <a:p>
              <a:r>
                <a:rPr lang="en-US">
                  <a:latin typeface="Calibri" panose="020F0502020204030204" pitchFamily="34" charset="0"/>
                  <a:ea typeface="Calibri" panose="020F0502020204030204" pitchFamily="34" charset="0"/>
                  <a:cs typeface="Shruti" panose="020B0502040204020203" pitchFamily="34" charset="0"/>
                </a:rPr>
                <a:t>- last quarter of the business year (last 3 months)</a:t>
              </a:r>
            </a:p>
            <a:p>
              <a:endParaRPr lang="en-US" sz="800">
                <a:latin typeface="Calibri" panose="020F0502020204030204" pitchFamily="34" charset="0"/>
                <a:ea typeface="Calibri" panose="020F0502020204030204" pitchFamily="34" charset="0"/>
                <a:cs typeface="Shruti" panose="020B0502040204020203" pitchFamily="34" charset="0"/>
              </a:endParaRPr>
            </a:p>
            <a:p>
              <a:r>
                <a:rPr lang="en-US">
                  <a:latin typeface="Calibri" panose="020F0502020204030204" pitchFamily="34" charset="0"/>
                  <a:ea typeface="Calibri" panose="020F0502020204030204" pitchFamily="34" charset="0"/>
                  <a:cs typeface="Shruti" panose="020B0502040204020203" pitchFamily="34" charset="0"/>
                </a:rPr>
                <a:t>- first quarter of the business year (first 3 months)</a:t>
              </a:r>
            </a:p>
          </p:txBody>
        </p:sp>
      </p:grpSp>
      <p:sp>
        <p:nvSpPr>
          <p:cNvPr id="12" name="Title 1">
            <a:extLst>
              <a:ext uri="{FF2B5EF4-FFF2-40B4-BE49-F238E27FC236}">
                <a16:creationId xmlns:a16="http://schemas.microsoft.com/office/drawing/2014/main" id="{1D9AC454-A55C-4050-0C7C-D3922D964BE4}"/>
              </a:ext>
            </a:extLst>
          </p:cNvPr>
          <p:cNvSpPr txBox="1">
            <a:spLocks/>
          </p:cNvSpPr>
          <p:nvPr/>
        </p:nvSpPr>
        <p:spPr>
          <a:xfrm>
            <a:off x="6296289" y="1013847"/>
            <a:ext cx="5186490" cy="1208014"/>
          </a:xfrm>
          <a:prstGeom prst="rect">
            <a:avLst/>
          </a:prstGeom>
          <a:solidFill>
            <a:schemeClr val="accent6">
              <a:lumMod val="60000"/>
              <a:lumOff val="40000"/>
            </a:schemeClr>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a:latin typeface="Times New Roman" panose="02020603050405020304" pitchFamily="18" charset="0"/>
                <a:ea typeface="Times New Roman" panose="02020603050405020304" pitchFamily="18" charset="0"/>
              </a:rPr>
              <a:t>Total Ct </a:t>
            </a:r>
            <a:r>
              <a:rPr lang="en-US" err="1">
                <a:latin typeface="Times New Roman" panose="02020603050405020304" pitchFamily="18" charset="0"/>
                <a:ea typeface="Times New Roman" panose="02020603050405020304" pitchFamily="18" charset="0"/>
              </a:rPr>
              <a:t>Chng</a:t>
            </a:r>
            <a:r>
              <a:rPr lang="en-US">
                <a:latin typeface="Times New Roman" panose="02020603050405020304" pitchFamily="18" charset="0"/>
                <a:ea typeface="Times New Roman" panose="02020603050405020304" pitchFamily="18" charset="0"/>
              </a:rPr>
              <a:t> Q4-Q1 </a:t>
            </a:r>
          </a:p>
          <a:p>
            <a:pPr algn="ctr"/>
            <a:r>
              <a:rPr kumimoji="0" lang="en-US"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Shruti" panose="020B0502040204020203" pitchFamily="34" charset="0"/>
              </a:rPr>
              <a:t>(</a:t>
            </a: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mn-cs"/>
              </a:rPr>
              <a:t>ratio of no. of transactions done in Q4 vs Q1)</a:t>
            </a:r>
            <a:endParaRPr lang="en-US" sz="6000">
              <a:latin typeface="Times New Roman" panose="02020603050405020304" pitchFamily="18" charset="0"/>
              <a:ea typeface="Times New Roman" panose="02020603050405020304" pitchFamily="18" charset="0"/>
            </a:endParaRPr>
          </a:p>
        </p:txBody>
      </p:sp>
      <p:sp>
        <p:nvSpPr>
          <p:cNvPr id="2" name="TextBox 1">
            <a:extLst>
              <a:ext uri="{FF2B5EF4-FFF2-40B4-BE49-F238E27FC236}">
                <a16:creationId xmlns:a16="http://schemas.microsoft.com/office/drawing/2014/main" id="{729327A9-AA2F-4708-C6BF-EC9B88F81CE4}"/>
              </a:ext>
            </a:extLst>
          </p:cNvPr>
          <p:cNvSpPr txBox="1"/>
          <p:nvPr/>
        </p:nvSpPr>
        <p:spPr>
          <a:xfrm>
            <a:off x="10520130" y="6469144"/>
            <a:ext cx="1671870" cy="400110"/>
          </a:xfrm>
          <a:prstGeom prst="rect">
            <a:avLst/>
          </a:prstGeom>
          <a:solidFill>
            <a:schemeClr val="accent6">
              <a:lumMod val="60000"/>
              <a:lumOff val="40000"/>
            </a:schemeClr>
          </a:solidFill>
        </p:spPr>
        <p:txBody>
          <a:bodyPr wrap="square" rtlCol="0">
            <a:spAutoFit/>
          </a:bodyPr>
          <a:lstStyle/>
          <a:p>
            <a:pPr algn="ctr"/>
            <a:r>
              <a:rPr lang="en-US" sz="2000">
                <a:latin typeface="Times New Roman" panose="02020603050405020304" pitchFamily="18" charset="0"/>
                <a:cs typeface="Times New Roman" panose="02020603050405020304" pitchFamily="18" charset="0"/>
              </a:rPr>
              <a:t>- Yash Jivani -</a:t>
            </a:r>
          </a:p>
        </p:txBody>
      </p:sp>
      <p:sp>
        <p:nvSpPr>
          <p:cNvPr id="10" name="Slide Number Placeholder 2">
            <a:extLst>
              <a:ext uri="{FF2B5EF4-FFF2-40B4-BE49-F238E27FC236}">
                <a16:creationId xmlns:a16="http://schemas.microsoft.com/office/drawing/2014/main" id="{A5AA8AC1-E7EB-AE80-16BD-01084F7B80E8}"/>
              </a:ext>
            </a:extLst>
          </p:cNvPr>
          <p:cNvSpPr txBox="1">
            <a:spLocks/>
          </p:cNvSpPr>
          <p:nvPr/>
        </p:nvSpPr>
        <p:spPr>
          <a:xfrm>
            <a:off x="9148530" y="6104019"/>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ED678AB-02B0-41B4-AC9A-DED9BD329528}" type="slidenum">
              <a:rPr lang="en-US" smtClean="0"/>
              <a:pPr/>
              <a:t>11</a:t>
            </a:fld>
            <a:endParaRPr lang="en-US"/>
          </a:p>
        </p:txBody>
      </p:sp>
      <p:sp>
        <p:nvSpPr>
          <p:cNvPr id="13" name="TextBox 12">
            <a:extLst>
              <a:ext uri="{FF2B5EF4-FFF2-40B4-BE49-F238E27FC236}">
                <a16:creationId xmlns:a16="http://schemas.microsoft.com/office/drawing/2014/main" id="{69EBE1EF-55CD-25E3-48EE-09ABFF50D8BF}"/>
              </a:ext>
            </a:extLst>
          </p:cNvPr>
          <p:cNvSpPr txBox="1"/>
          <p:nvPr/>
        </p:nvSpPr>
        <p:spPr>
          <a:xfrm>
            <a:off x="9810909" y="2221861"/>
            <a:ext cx="1671870" cy="400110"/>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defPPr>
              <a:defRPr lang="en-US"/>
            </a:defPPr>
            <a:lvl1pPr algn="ctr">
              <a:defRPr sz="2000">
                <a:solidFill>
                  <a:schemeClr val="dk1"/>
                </a:solidFill>
                <a:latin typeface="Times New Roman" panose="02020603050405020304" pitchFamily="18" charset="0"/>
                <a:cs typeface="Times New Roman" panose="02020603050405020304" pitchFamily="18"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t>Numerical</a:t>
            </a:r>
          </a:p>
        </p:txBody>
      </p:sp>
    </p:spTree>
    <p:extLst>
      <p:ext uri="{BB962C8B-B14F-4D97-AF65-F5344CB8AC3E}">
        <p14:creationId xmlns:p14="http://schemas.microsoft.com/office/powerpoint/2010/main" val="20189621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4E264FB-C7E0-2BA4-5C0B-D52B2E35A88C}"/>
              </a:ext>
            </a:extLst>
          </p:cNvPr>
          <p:cNvGraphicFramePr>
            <a:graphicFrameLocks noChangeAspect="1"/>
          </p:cNvGraphicFramePr>
          <p:nvPr>
            <p:custDataLst>
              <p:tags r:id="rId1"/>
            </p:custDataLst>
            <p:extLst>
              <p:ext uri="{D42A27DB-BD31-4B8C-83A1-F6EECF244321}">
                <p14:modId xmlns:p14="http://schemas.microsoft.com/office/powerpoint/2010/main" val="1015273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8" progId="TCLayout.ActiveDocument.1">
                  <p:embed/>
                </p:oleObj>
              </mc:Choice>
              <mc:Fallback>
                <p:oleObj name="think-cell Slide" r:id="rId4" imgW="426" imgH="428" progId="TCLayout.ActiveDocument.1">
                  <p:embed/>
                  <p:pic>
                    <p:nvPicPr>
                      <p:cNvPr id="6" name="Object 5" hidden="1">
                        <a:extLst>
                          <a:ext uri="{FF2B5EF4-FFF2-40B4-BE49-F238E27FC236}">
                            <a16:creationId xmlns:a16="http://schemas.microsoft.com/office/drawing/2014/main" id="{74E264FB-C7E0-2BA4-5C0B-D52B2E35A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989A7B56-90EC-D097-4EB3-8E6F39DF795B}"/>
              </a:ext>
            </a:extLst>
          </p:cNvPr>
          <p:cNvPicPr>
            <a:picLocks noChangeAspect="1"/>
          </p:cNvPicPr>
          <p:nvPr/>
        </p:nvPicPr>
        <p:blipFill>
          <a:blip r:embed="rId6"/>
          <a:stretch>
            <a:fillRect/>
          </a:stretch>
        </p:blipFill>
        <p:spPr>
          <a:xfrm>
            <a:off x="0" y="-786"/>
            <a:ext cx="11509252" cy="6858786"/>
          </a:xfrm>
          <a:prstGeom prst="rect">
            <a:avLst/>
          </a:prstGeom>
        </p:spPr>
      </p:pic>
      <p:sp>
        <p:nvSpPr>
          <p:cNvPr id="9" name="TextBox 8">
            <a:extLst>
              <a:ext uri="{FF2B5EF4-FFF2-40B4-BE49-F238E27FC236}">
                <a16:creationId xmlns:a16="http://schemas.microsoft.com/office/drawing/2014/main" id="{07FBB427-BCD0-4241-AFB8-E4D2DD0F878A}"/>
              </a:ext>
            </a:extLst>
          </p:cNvPr>
          <p:cNvSpPr txBox="1"/>
          <p:nvPr/>
        </p:nvSpPr>
        <p:spPr>
          <a:xfrm>
            <a:off x="6342077" y="1829589"/>
            <a:ext cx="5849923" cy="1754326"/>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2400" b="0" i="0">
                <a:solidFill>
                  <a:srgbClr val="333333"/>
                </a:solidFill>
                <a:effectLst/>
              </a:rPr>
              <a:t>Using a symmetric log axis scale for small values has a similar effect to using a linear scale (i.e. a normal quantitative axis)</a:t>
            </a:r>
          </a:p>
          <a:p>
            <a:pPr marL="0" marR="0" lvl="0" indent="0" algn="just" defTabSz="914400" rtl="0" eaLnBrk="1" fontAlgn="auto" latinLnBrk="0" hangingPunct="1">
              <a:lnSpc>
                <a:spcPct val="100000"/>
              </a:lnSpc>
              <a:spcBef>
                <a:spcPts val="0"/>
              </a:spcBef>
              <a:spcAft>
                <a:spcPts val="0"/>
              </a:spcAft>
              <a:buClrTx/>
              <a:buSzTx/>
              <a:buFontTx/>
              <a:buNone/>
              <a:tabLst/>
              <a:defRPr/>
            </a:pPr>
            <a:r>
              <a:rPr lang="en-US" b="0" i="0">
                <a:solidFill>
                  <a:srgbClr val="333333"/>
                </a:solidFill>
                <a:effectLst/>
              </a:rPr>
              <a:t>(</a:t>
            </a:r>
            <a:r>
              <a:rPr lang="en-US" b="0" i="0" err="1">
                <a:solidFill>
                  <a:srgbClr val="333333"/>
                </a:solidFill>
                <a:effectLst/>
              </a:rPr>
              <a:t>Source:</a:t>
            </a:r>
            <a:r>
              <a:rPr lang="en-US" b="0" i="0" err="1">
                <a:solidFill>
                  <a:srgbClr val="333333"/>
                </a:solidFill>
                <a:effectLst/>
                <a:hlinkClick r:id="rId7"/>
              </a:rPr>
              <a:t>https</a:t>
            </a:r>
            <a:r>
              <a:rPr lang="en-US" b="0" i="0">
                <a:solidFill>
                  <a:srgbClr val="333333"/>
                </a:solidFill>
                <a:effectLst/>
                <a:hlinkClick r:id="rId7"/>
              </a:rPr>
              <a:t>://help.tableau.com/current/pro/desktop/</a:t>
            </a:r>
            <a:r>
              <a:rPr lang="en-US" b="0" i="0" err="1">
                <a:solidFill>
                  <a:srgbClr val="333333"/>
                </a:solidFill>
                <a:effectLst/>
                <a:hlinkClick r:id="rId7"/>
              </a:rPr>
              <a:t>en</a:t>
            </a:r>
            <a:r>
              <a:rPr lang="en-US" b="0" i="0">
                <a:solidFill>
                  <a:srgbClr val="333333"/>
                </a:solidFill>
                <a:effectLst/>
                <a:hlinkClick r:id="rId7"/>
              </a:rPr>
              <a:t>-us/</a:t>
            </a:r>
            <a:r>
              <a:rPr lang="en-US" b="0" i="0" err="1">
                <a:solidFill>
                  <a:srgbClr val="333333"/>
                </a:solidFill>
                <a:effectLst/>
                <a:hlinkClick r:id="rId7"/>
              </a:rPr>
              <a:t>formatting_editaxes.htm#Transform</a:t>
            </a:r>
            <a:r>
              <a:rPr lang="en-US" b="0" i="0">
                <a:solidFill>
                  <a:srgbClr val="333333"/>
                </a:solidFill>
                <a:effectLst/>
              </a:rPr>
              <a:t>)</a:t>
            </a:r>
          </a:p>
        </p:txBody>
      </p:sp>
      <p:sp>
        <p:nvSpPr>
          <p:cNvPr id="10" name="Title 1">
            <a:extLst>
              <a:ext uri="{FF2B5EF4-FFF2-40B4-BE49-F238E27FC236}">
                <a16:creationId xmlns:a16="http://schemas.microsoft.com/office/drawing/2014/main" id="{C53A8EFD-F4FF-824A-E262-57BDB5A03ED7}"/>
              </a:ext>
            </a:extLst>
          </p:cNvPr>
          <p:cNvSpPr txBox="1">
            <a:spLocks/>
          </p:cNvSpPr>
          <p:nvPr/>
        </p:nvSpPr>
        <p:spPr>
          <a:xfrm>
            <a:off x="6664136" y="272584"/>
            <a:ext cx="5186490" cy="1208014"/>
          </a:xfrm>
          <a:prstGeom prst="rect">
            <a:avLst/>
          </a:prstGeom>
          <a:solidFill>
            <a:schemeClr val="accent6">
              <a:lumMod val="60000"/>
              <a:lumOff val="40000"/>
            </a:schemeClr>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a:latin typeface="Times New Roman" panose="02020603050405020304" pitchFamily="18" charset="0"/>
                <a:ea typeface="Times New Roman" panose="02020603050405020304" pitchFamily="18" charset="0"/>
              </a:rPr>
              <a:t>Total Ct </a:t>
            </a:r>
            <a:r>
              <a:rPr lang="en-US" err="1">
                <a:latin typeface="Times New Roman" panose="02020603050405020304" pitchFamily="18" charset="0"/>
                <a:ea typeface="Times New Roman" panose="02020603050405020304" pitchFamily="18" charset="0"/>
              </a:rPr>
              <a:t>Chng</a:t>
            </a:r>
            <a:r>
              <a:rPr lang="en-US">
                <a:latin typeface="Times New Roman" panose="02020603050405020304" pitchFamily="18" charset="0"/>
                <a:ea typeface="Times New Roman" panose="02020603050405020304" pitchFamily="18" charset="0"/>
              </a:rPr>
              <a:t> Q4-Q1 </a:t>
            </a:r>
          </a:p>
          <a:p>
            <a:pPr algn="ctr"/>
            <a:r>
              <a:rPr kumimoji="0" lang="en-US"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Shruti" panose="020B0502040204020203" pitchFamily="34" charset="0"/>
              </a:rPr>
              <a:t>(</a:t>
            </a: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mn-cs"/>
              </a:rPr>
              <a:t>ratio of no. of transactions done in Q4 vs Q1)</a:t>
            </a:r>
            <a:endParaRPr lang="en-US" sz="6000">
              <a:latin typeface="Times New Roman" panose="02020603050405020304" pitchFamily="18" charset="0"/>
              <a:ea typeface="Times New Roman" panose="02020603050405020304" pitchFamily="18" charset="0"/>
            </a:endParaRPr>
          </a:p>
        </p:txBody>
      </p:sp>
      <p:pic>
        <p:nvPicPr>
          <p:cNvPr id="13" name="Picture 12">
            <a:extLst>
              <a:ext uri="{FF2B5EF4-FFF2-40B4-BE49-F238E27FC236}">
                <a16:creationId xmlns:a16="http://schemas.microsoft.com/office/drawing/2014/main" id="{CA150DAC-46EE-AF54-6681-BC8F83C9E036}"/>
              </a:ext>
            </a:extLst>
          </p:cNvPr>
          <p:cNvPicPr>
            <a:picLocks noChangeAspect="1"/>
          </p:cNvPicPr>
          <p:nvPr/>
        </p:nvPicPr>
        <p:blipFill>
          <a:blip r:embed="rId8">
            <a:duotone>
              <a:prstClr val="black"/>
              <a:schemeClr val="accent2">
                <a:lumMod val="60000"/>
                <a:lumOff val="40000"/>
                <a:tint val="45000"/>
                <a:satMod val="400000"/>
              </a:schemeClr>
            </a:duotone>
          </a:blip>
          <a:stretch>
            <a:fillRect/>
          </a:stretch>
        </p:blipFill>
        <p:spPr>
          <a:xfrm>
            <a:off x="7505709" y="3969015"/>
            <a:ext cx="3503344" cy="1477314"/>
          </a:xfrm>
          <a:prstGeom prst="rect">
            <a:avLst/>
          </a:prstGeom>
          <a:ln>
            <a:solidFill>
              <a:schemeClr val="tx1"/>
            </a:solidFill>
          </a:ln>
        </p:spPr>
      </p:pic>
      <p:sp>
        <p:nvSpPr>
          <p:cNvPr id="3" name="TextBox 2">
            <a:extLst>
              <a:ext uri="{FF2B5EF4-FFF2-40B4-BE49-F238E27FC236}">
                <a16:creationId xmlns:a16="http://schemas.microsoft.com/office/drawing/2014/main" id="{2F6364AC-EE0E-47BE-1CCD-A1382ECB75E1}"/>
              </a:ext>
            </a:extLst>
          </p:cNvPr>
          <p:cNvSpPr txBox="1"/>
          <p:nvPr/>
        </p:nvSpPr>
        <p:spPr>
          <a:xfrm>
            <a:off x="10520130" y="6457890"/>
            <a:ext cx="1671870" cy="400110"/>
          </a:xfrm>
          <a:prstGeom prst="rect">
            <a:avLst/>
          </a:prstGeom>
          <a:solidFill>
            <a:schemeClr val="accent6">
              <a:lumMod val="60000"/>
              <a:lumOff val="40000"/>
            </a:schemeClr>
          </a:solidFill>
        </p:spPr>
        <p:txBody>
          <a:bodyPr wrap="square" rtlCol="0">
            <a:spAutoFit/>
          </a:bodyPr>
          <a:lstStyle/>
          <a:p>
            <a:pPr algn="ctr"/>
            <a:r>
              <a:rPr lang="en-US" sz="2000">
                <a:latin typeface="Times New Roman" panose="02020603050405020304" pitchFamily="18" charset="0"/>
                <a:cs typeface="Times New Roman" panose="02020603050405020304" pitchFamily="18" charset="0"/>
              </a:rPr>
              <a:t>- Yash Jivani -</a:t>
            </a:r>
          </a:p>
        </p:txBody>
      </p:sp>
      <p:sp>
        <p:nvSpPr>
          <p:cNvPr id="7" name="Slide Number Placeholder 2">
            <a:extLst>
              <a:ext uri="{FF2B5EF4-FFF2-40B4-BE49-F238E27FC236}">
                <a16:creationId xmlns:a16="http://schemas.microsoft.com/office/drawing/2014/main" id="{C2D5FFB4-5111-8858-0274-A19FB6BC91D3}"/>
              </a:ext>
            </a:extLst>
          </p:cNvPr>
          <p:cNvSpPr txBox="1">
            <a:spLocks/>
          </p:cNvSpPr>
          <p:nvPr/>
        </p:nvSpPr>
        <p:spPr>
          <a:xfrm>
            <a:off x="9148530" y="6104019"/>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ED678AB-02B0-41B4-AC9A-DED9BD329528}" type="slidenum">
              <a:rPr lang="en-US" smtClean="0"/>
              <a:pPr/>
              <a:t>12</a:t>
            </a:fld>
            <a:endParaRPr lang="en-US"/>
          </a:p>
        </p:txBody>
      </p:sp>
    </p:spTree>
    <p:extLst>
      <p:ext uri="{BB962C8B-B14F-4D97-AF65-F5344CB8AC3E}">
        <p14:creationId xmlns:p14="http://schemas.microsoft.com/office/powerpoint/2010/main" val="36965912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4E264FB-C7E0-2BA4-5C0B-D52B2E35A88C}"/>
              </a:ext>
            </a:extLst>
          </p:cNvPr>
          <p:cNvGraphicFramePr>
            <a:graphicFrameLocks noChangeAspect="1"/>
          </p:cNvGraphicFramePr>
          <p:nvPr>
            <p:custDataLst>
              <p:tags r:id="rId1"/>
            </p:custDataLst>
            <p:extLst>
              <p:ext uri="{D42A27DB-BD31-4B8C-83A1-F6EECF244321}">
                <p14:modId xmlns:p14="http://schemas.microsoft.com/office/powerpoint/2010/main" val="2852852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8" progId="TCLayout.ActiveDocument.1">
                  <p:embed/>
                </p:oleObj>
              </mc:Choice>
              <mc:Fallback>
                <p:oleObj name="think-cell Slide" r:id="rId4" imgW="426" imgH="428" progId="TCLayout.ActiveDocument.1">
                  <p:embed/>
                  <p:pic>
                    <p:nvPicPr>
                      <p:cNvPr id="6" name="Object 5" hidden="1">
                        <a:extLst>
                          <a:ext uri="{FF2B5EF4-FFF2-40B4-BE49-F238E27FC236}">
                            <a16:creationId xmlns:a16="http://schemas.microsoft.com/office/drawing/2014/main" id="{74E264FB-C7E0-2BA4-5C0B-D52B2E35A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4315E4F8-713D-FA0F-BB75-5A2E22A714AB}"/>
              </a:ext>
            </a:extLst>
          </p:cNvPr>
          <p:cNvPicPr>
            <a:picLocks noChangeAspect="1"/>
          </p:cNvPicPr>
          <p:nvPr/>
        </p:nvPicPr>
        <p:blipFill rotWithShape="1">
          <a:blip r:embed="rId6"/>
          <a:srcRect t="857"/>
          <a:stretch/>
        </p:blipFill>
        <p:spPr>
          <a:xfrm>
            <a:off x="0" y="-10376"/>
            <a:ext cx="11358694" cy="6868375"/>
          </a:xfrm>
          <a:prstGeom prst="rect">
            <a:avLst/>
          </a:prstGeom>
        </p:spPr>
      </p:pic>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07FBB427-BCD0-4241-AFB8-E4D2DD0F878A}"/>
                  </a:ext>
                </a:extLst>
              </p:cNvPr>
              <p:cNvSpPr txBox="1"/>
              <p:nvPr/>
            </p:nvSpPr>
            <p:spPr>
              <a:xfrm>
                <a:off x="6476301" y="2063692"/>
                <a:ext cx="5374325" cy="911340"/>
              </a:xfrm>
              <a:prstGeom prst="rect">
                <a:avLst/>
              </a:prstGeom>
              <a:noFill/>
            </p:spPr>
            <p:txBody>
              <a:bodyPr wrap="square" rtlCol="0">
                <a:spAutoFit/>
              </a:bodyPr>
              <a:lstStyle/>
              <a:p>
                <a:pPr algn="ctr"/>
                <a:r>
                  <a:rPr lang="en-US" sz="2400">
                    <a:solidFill>
                      <a:srgbClr val="000000"/>
                    </a:solidFill>
                    <a:effectLst/>
                    <a:latin typeface="Calibri" panose="020F0502020204030204" pitchFamily="34" charset="0"/>
                    <a:ea typeface="Times New Roman" panose="02020603050405020304" pitchFamily="18" charset="0"/>
                  </a:rPr>
                  <a:t>Most of the customers who have churned made less transactions </a:t>
                </a:r>
                <a:r>
                  <a:rPr lang="en-US" sz="2400">
                    <a:solidFill>
                      <a:srgbClr val="000000"/>
                    </a:solidFill>
                    <a:latin typeface="Calibri" panose="020F0502020204030204" pitchFamily="34" charset="0"/>
                    <a:ea typeface="Times New Roman" panose="02020603050405020304" pitchFamily="18" charset="0"/>
                  </a:rPr>
                  <a:t>i</a:t>
                </a:r>
                <a:r>
                  <a:rPr lang="en-US" sz="2400">
                    <a:solidFill>
                      <a:srgbClr val="000000"/>
                    </a:solidFill>
                    <a:effectLst/>
                    <a:latin typeface="Calibri" panose="020F0502020204030204" pitchFamily="34" charset="0"/>
                    <a:ea typeface="Times New Roman" panose="02020603050405020304" pitchFamily="18" charset="0"/>
                  </a:rPr>
                  <a:t>n</a:t>
                </a:r>
                <a:r>
                  <a:rPr lang="en-US" sz="2400">
                    <a:solidFill>
                      <a:srgbClr val="000000"/>
                    </a:solidFill>
                    <a:latin typeface="Calibri" panose="020F0502020204030204" pitchFamily="34" charset="0"/>
                    <a:ea typeface="Times New Roman" panose="02020603050405020304" pitchFamily="18" charset="0"/>
                  </a:rPr>
                  <a:t> </a:t>
                </a:r>
                <a:r>
                  <a:rPr lang="en-US" sz="2400">
                    <a:solidFill>
                      <a:srgbClr val="000000"/>
                    </a:solidFill>
                    <a:effectLst/>
                    <a:latin typeface="Calibri" panose="020F0502020204030204" pitchFamily="34" charset="0"/>
                    <a:ea typeface="Times New Roman" panose="02020603050405020304" pitchFamily="18" charset="0"/>
                  </a:rPr>
                  <a:t>Q4 (&lt; </a:t>
                </a:r>
                <a14:m>
                  <m:oMath xmlns:m="http://schemas.openxmlformats.org/officeDocument/2006/math">
                    <m:box>
                      <m:boxPr>
                        <m:ctrlPr>
                          <a:rPr lang="en-US" sz="2400" b="0" i="1" smtClean="0">
                            <a:solidFill>
                              <a:srgbClr val="000000"/>
                            </a:solidFill>
                            <a:effectLst/>
                            <a:latin typeface="Cambria Math" panose="02040503050406030204" pitchFamily="18" charset="0"/>
                            <a:ea typeface="Times New Roman" panose="02020603050405020304" pitchFamily="18" charset="0"/>
                          </a:rPr>
                        </m:ctrlPr>
                      </m:boxPr>
                      <m:e>
                        <m:argPr>
                          <m:argSz m:val="-1"/>
                        </m:argPr>
                        <m:f>
                          <m:fPr>
                            <m:ctrlPr>
                              <a:rPr lang="en-US" sz="2400" b="0" i="1" smtClean="0">
                                <a:solidFill>
                                  <a:srgbClr val="000000"/>
                                </a:solidFill>
                                <a:effectLst/>
                                <a:latin typeface="Cambria Math" panose="02040503050406030204" pitchFamily="18" charset="0"/>
                                <a:ea typeface="Times New Roman" panose="02020603050405020304" pitchFamily="18" charset="0"/>
                              </a:rPr>
                            </m:ctrlPr>
                          </m:fPr>
                          <m:num>
                            <m:r>
                              <a:rPr lang="en-US" sz="2400" b="0" i="1" smtClean="0">
                                <a:solidFill>
                                  <a:srgbClr val="000000"/>
                                </a:solidFill>
                                <a:effectLst/>
                                <a:latin typeface="Cambria Math" panose="02040503050406030204" pitchFamily="18" charset="0"/>
                                <a:ea typeface="Times New Roman" panose="02020603050405020304" pitchFamily="18" charset="0"/>
                              </a:rPr>
                              <m:t>𝑄</m:t>
                            </m:r>
                            <m:r>
                              <a:rPr lang="en-US" sz="2400" b="0" i="1" smtClean="0">
                                <a:solidFill>
                                  <a:srgbClr val="000000"/>
                                </a:solidFill>
                                <a:effectLst/>
                                <a:latin typeface="Cambria Math" panose="02040503050406030204" pitchFamily="18" charset="0"/>
                                <a:ea typeface="Times New Roman" panose="02020603050405020304" pitchFamily="18" charset="0"/>
                              </a:rPr>
                              <m:t>4</m:t>
                            </m:r>
                          </m:num>
                          <m:den>
                            <m:r>
                              <a:rPr lang="en-US" sz="2400" b="0" i="1" smtClean="0">
                                <a:solidFill>
                                  <a:srgbClr val="000000"/>
                                </a:solidFill>
                                <a:effectLst/>
                                <a:latin typeface="Cambria Math" panose="02040503050406030204" pitchFamily="18" charset="0"/>
                                <a:ea typeface="Times New Roman" panose="02020603050405020304" pitchFamily="18" charset="0"/>
                              </a:rPr>
                              <m:t>𝑄</m:t>
                            </m:r>
                            <m:r>
                              <a:rPr lang="en-US" sz="2400" b="0" i="1" smtClean="0">
                                <a:solidFill>
                                  <a:srgbClr val="000000"/>
                                </a:solidFill>
                                <a:effectLst/>
                                <a:latin typeface="Cambria Math" panose="02040503050406030204" pitchFamily="18" charset="0"/>
                                <a:ea typeface="Times New Roman" panose="02020603050405020304" pitchFamily="18" charset="0"/>
                              </a:rPr>
                              <m:t>1</m:t>
                            </m:r>
                          </m:den>
                        </m:f>
                      </m:e>
                    </m:box>
                  </m:oMath>
                </a14:m>
                <a:r>
                  <a:rPr lang="en-US" sz="2400">
                    <a:latin typeface="Calibri" panose="020F0502020204030204" pitchFamily="34" charset="0"/>
                    <a:ea typeface="Calibri" panose="020F0502020204030204" pitchFamily="34" charset="0"/>
                    <a:cs typeface="Shruti" panose="020B0502040204020203" pitchFamily="34" charset="0"/>
                  </a:rPr>
                  <a:t>)</a:t>
                </a:r>
              </a:p>
            </p:txBody>
          </p:sp>
        </mc:Choice>
        <mc:Fallback xmlns="">
          <p:sp>
            <p:nvSpPr>
              <p:cNvPr id="9" name="TextBox 8">
                <a:extLst>
                  <a:ext uri="{FF2B5EF4-FFF2-40B4-BE49-F238E27FC236}">
                    <a16:creationId xmlns:a16="http://schemas.microsoft.com/office/drawing/2014/main" id="{07FBB427-BCD0-4241-AFB8-E4D2DD0F878A}"/>
                  </a:ext>
                </a:extLst>
              </p:cNvPr>
              <p:cNvSpPr txBox="1">
                <a:spLocks noRot="1" noChangeAspect="1" noMove="1" noResize="1" noEditPoints="1" noAdjustHandles="1" noChangeArrowheads="1" noChangeShapeType="1" noTextEdit="1"/>
              </p:cNvSpPr>
              <p:nvPr/>
            </p:nvSpPr>
            <p:spPr>
              <a:xfrm>
                <a:off x="6476301" y="2063692"/>
                <a:ext cx="5374325" cy="911340"/>
              </a:xfrm>
              <a:prstGeom prst="rect">
                <a:avLst/>
              </a:prstGeom>
              <a:blipFill>
                <a:blip r:embed="rId8"/>
                <a:stretch>
                  <a:fillRect l="-1247" t="-5369" r="-2721" b="-7383"/>
                </a:stretch>
              </a:blipFill>
            </p:spPr>
            <p:txBody>
              <a:bodyPr/>
              <a:lstStyle/>
              <a:p>
                <a:r>
                  <a:rPr lang="en-US">
                    <a:noFill/>
                  </a:rPr>
                  <a:t> </a:t>
                </a:r>
              </a:p>
            </p:txBody>
          </p:sp>
        </mc:Fallback>
      </mc:AlternateContent>
      <p:sp>
        <p:nvSpPr>
          <p:cNvPr id="10" name="Title 1">
            <a:extLst>
              <a:ext uri="{FF2B5EF4-FFF2-40B4-BE49-F238E27FC236}">
                <a16:creationId xmlns:a16="http://schemas.microsoft.com/office/drawing/2014/main" id="{C53A8EFD-F4FF-824A-E262-57BDB5A03ED7}"/>
              </a:ext>
            </a:extLst>
          </p:cNvPr>
          <p:cNvSpPr txBox="1">
            <a:spLocks/>
          </p:cNvSpPr>
          <p:nvPr/>
        </p:nvSpPr>
        <p:spPr>
          <a:xfrm>
            <a:off x="6664136" y="272584"/>
            <a:ext cx="5186490" cy="1208014"/>
          </a:xfrm>
          <a:prstGeom prst="rect">
            <a:avLst/>
          </a:prstGeom>
          <a:solidFill>
            <a:schemeClr val="accent6">
              <a:lumMod val="60000"/>
              <a:lumOff val="40000"/>
            </a:schemeClr>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a:latin typeface="Times New Roman" panose="02020603050405020304" pitchFamily="18" charset="0"/>
                <a:ea typeface="Times New Roman" panose="02020603050405020304" pitchFamily="18" charset="0"/>
              </a:rPr>
              <a:t>Total Ct </a:t>
            </a:r>
            <a:r>
              <a:rPr lang="en-US" err="1">
                <a:latin typeface="Times New Roman" panose="02020603050405020304" pitchFamily="18" charset="0"/>
                <a:ea typeface="Times New Roman" panose="02020603050405020304" pitchFamily="18" charset="0"/>
              </a:rPr>
              <a:t>Chng</a:t>
            </a:r>
            <a:r>
              <a:rPr lang="en-US">
                <a:latin typeface="Times New Roman" panose="02020603050405020304" pitchFamily="18" charset="0"/>
                <a:ea typeface="Times New Roman" panose="02020603050405020304" pitchFamily="18" charset="0"/>
              </a:rPr>
              <a:t> Q4-Q1 </a:t>
            </a:r>
          </a:p>
          <a:p>
            <a:pPr algn="ctr"/>
            <a:r>
              <a:rPr kumimoji="0" lang="en-US"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Shruti" panose="020B0502040204020203" pitchFamily="34" charset="0"/>
              </a:rPr>
              <a:t>(</a:t>
            </a: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mn-cs"/>
              </a:rPr>
              <a:t>ratio of no. of transactions done in Q4 vs Q1)</a:t>
            </a:r>
            <a:endParaRPr lang="en-US" sz="6000">
              <a:latin typeface="Times New Roman" panose="02020603050405020304" pitchFamily="18" charset="0"/>
              <a:ea typeface="Times New Roman" panose="02020603050405020304" pitchFamily="18" charset="0"/>
            </a:endParaRPr>
          </a:p>
        </p:txBody>
      </p:sp>
      <p:pic>
        <p:nvPicPr>
          <p:cNvPr id="7" name="Picture 6">
            <a:extLst>
              <a:ext uri="{FF2B5EF4-FFF2-40B4-BE49-F238E27FC236}">
                <a16:creationId xmlns:a16="http://schemas.microsoft.com/office/drawing/2014/main" id="{06759588-DB49-BFB9-FEB4-942DA8C8094F}"/>
              </a:ext>
            </a:extLst>
          </p:cNvPr>
          <p:cNvPicPr>
            <a:picLocks noChangeAspect="1"/>
          </p:cNvPicPr>
          <p:nvPr/>
        </p:nvPicPr>
        <p:blipFill rotWithShape="1">
          <a:blip r:embed="rId9"/>
          <a:srcRect b="4632"/>
          <a:stretch/>
        </p:blipFill>
        <p:spPr>
          <a:xfrm>
            <a:off x="7850964" y="4062445"/>
            <a:ext cx="3015289" cy="1264160"/>
          </a:xfrm>
          <a:prstGeom prst="rect">
            <a:avLst/>
          </a:prstGeom>
          <a:ln>
            <a:solidFill>
              <a:schemeClr val="tx1"/>
            </a:solidFill>
          </a:ln>
        </p:spPr>
      </p:pic>
      <p:sp>
        <p:nvSpPr>
          <p:cNvPr id="2" name="TextBox 1">
            <a:extLst>
              <a:ext uri="{FF2B5EF4-FFF2-40B4-BE49-F238E27FC236}">
                <a16:creationId xmlns:a16="http://schemas.microsoft.com/office/drawing/2014/main" id="{6DB8006E-BAA0-94CE-EFDD-0B2DD977A9B2}"/>
              </a:ext>
            </a:extLst>
          </p:cNvPr>
          <p:cNvSpPr txBox="1"/>
          <p:nvPr/>
        </p:nvSpPr>
        <p:spPr>
          <a:xfrm>
            <a:off x="10520130" y="6457890"/>
            <a:ext cx="1671870" cy="400110"/>
          </a:xfrm>
          <a:prstGeom prst="rect">
            <a:avLst/>
          </a:prstGeom>
          <a:solidFill>
            <a:schemeClr val="accent6">
              <a:lumMod val="60000"/>
              <a:lumOff val="40000"/>
            </a:schemeClr>
          </a:solidFill>
        </p:spPr>
        <p:txBody>
          <a:bodyPr wrap="square" rtlCol="0">
            <a:spAutoFit/>
          </a:bodyPr>
          <a:lstStyle/>
          <a:p>
            <a:pPr algn="ctr"/>
            <a:r>
              <a:rPr lang="en-US" sz="2000">
                <a:latin typeface="Times New Roman" panose="02020603050405020304" pitchFamily="18" charset="0"/>
                <a:cs typeface="Times New Roman" panose="02020603050405020304" pitchFamily="18" charset="0"/>
              </a:rPr>
              <a:t>- Yash Jivani -</a:t>
            </a:r>
          </a:p>
        </p:txBody>
      </p:sp>
      <p:sp>
        <p:nvSpPr>
          <p:cNvPr id="8" name="Slide Number Placeholder 2">
            <a:extLst>
              <a:ext uri="{FF2B5EF4-FFF2-40B4-BE49-F238E27FC236}">
                <a16:creationId xmlns:a16="http://schemas.microsoft.com/office/drawing/2014/main" id="{2036C5BC-15B0-8BC2-DFC9-E67B96B7024D}"/>
              </a:ext>
            </a:extLst>
          </p:cNvPr>
          <p:cNvSpPr txBox="1">
            <a:spLocks/>
          </p:cNvSpPr>
          <p:nvPr/>
        </p:nvSpPr>
        <p:spPr>
          <a:xfrm>
            <a:off x="9148530" y="6104019"/>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ED678AB-02B0-41B4-AC9A-DED9BD329528}" type="slidenum">
              <a:rPr lang="en-US" smtClean="0"/>
              <a:pPr/>
              <a:t>13</a:t>
            </a:fld>
            <a:endParaRPr lang="en-US"/>
          </a:p>
        </p:txBody>
      </p:sp>
    </p:spTree>
    <p:extLst>
      <p:ext uri="{BB962C8B-B14F-4D97-AF65-F5344CB8AC3E}">
        <p14:creationId xmlns:p14="http://schemas.microsoft.com/office/powerpoint/2010/main" val="977514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4E264FB-C7E0-2BA4-5C0B-D52B2E35A88C}"/>
              </a:ext>
            </a:extLst>
          </p:cNvPr>
          <p:cNvGraphicFramePr>
            <a:graphicFrameLocks noChangeAspect="1"/>
          </p:cNvGraphicFramePr>
          <p:nvPr>
            <p:custDataLst>
              <p:tags r:id="rId1"/>
            </p:custDataLst>
            <p:extLst>
              <p:ext uri="{D42A27DB-BD31-4B8C-83A1-F6EECF244321}">
                <p14:modId xmlns:p14="http://schemas.microsoft.com/office/powerpoint/2010/main" val="1894271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8" progId="TCLayout.ActiveDocument.1">
                  <p:embed/>
                </p:oleObj>
              </mc:Choice>
              <mc:Fallback>
                <p:oleObj name="think-cell Slide" r:id="rId4" imgW="426" imgH="428" progId="TCLayout.ActiveDocument.1">
                  <p:embed/>
                  <p:pic>
                    <p:nvPicPr>
                      <p:cNvPr id="6" name="Object 5" hidden="1">
                        <a:extLst>
                          <a:ext uri="{FF2B5EF4-FFF2-40B4-BE49-F238E27FC236}">
                            <a16:creationId xmlns:a16="http://schemas.microsoft.com/office/drawing/2014/main" id="{74E264FB-C7E0-2BA4-5C0B-D52B2E35A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E81701C9-1A6D-C71F-14C1-DA5A3BEDDECF}"/>
              </a:ext>
            </a:extLst>
          </p:cNvPr>
          <p:cNvPicPr>
            <a:picLocks noChangeAspect="1"/>
          </p:cNvPicPr>
          <p:nvPr/>
        </p:nvPicPr>
        <p:blipFill rotWithShape="1">
          <a:blip r:embed="rId6"/>
          <a:srcRect t="461"/>
          <a:stretch/>
        </p:blipFill>
        <p:spPr>
          <a:xfrm>
            <a:off x="0" y="1"/>
            <a:ext cx="11363884" cy="6858000"/>
          </a:xfrm>
          <a:prstGeom prst="rect">
            <a:avLst/>
          </a:prstGeom>
        </p:spPr>
      </p:pic>
      <p:pic>
        <p:nvPicPr>
          <p:cNvPr id="8" name="Picture 7">
            <a:extLst>
              <a:ext uri="{FF2B5EF4-FFF2-40B4-BE49-F238E27FC236}">
                <a16:creationId xmlns:a16="http://schemas.microsoft.com/office/drawing/2014/main" id="{49443698-B881-4A81-EF69-349DF0DE91D9}"/>
              </a:ext>
            </a:extLst>
          </p:cNvPr>
          <p:cNvPicPr>
            <a:picLocks noChangeAspect="1"/>
          </p:cNvPicPr>
          <p:nvPr/>
        </p:nvPicPr>
        <p:blipFill rotWithShape="1">
          <a:blip r:embed="rId7">
            <a:alphaModFix amt="84000"/>
          </a:blip>
          <a:srcRect b="4632"/>
          <a:stretch/>
        </p:blipFill>
        <p:spPr>
          <a:xfrm>
            <a:off x="985011" y="466674"/>
            <a:ext cx="3015289" cy="1264160"/>
          </a:xfrm>
          <a:prstGeom prst="rect">
            <a:avLst/>
          </a:prstGeom>
          <a:ln>
            <a:solidFill>
              <a:schemeClr val="tx1"/>
            </a:solidFill>
          </a:ln>
        </p:spPr>
      </p:pic>
      <p:sp>
        <p:nvSpPr>
          <p:cNvPr id="11" name="Title 1">
            <a:extLst>
              <a:ext uri="{FF2B5EF4-FFF2-40B4-BE49-F238E27FC236}">
                <a16:creationId xmlns:a16="http://schemas.microsoft.com/office/drawing/2014/main" id="{0AC276A7-3B22-5157-AC58-89298F68AA1A}"/>
              </a:ext>
            </a:extLst>
          </p:cNvPr>
          <p:cNvSpPr txBox="1">
            <a:spLocks/>
          </p:cNvSpPr>
          <p:nvPr/>
        </p:nvSpPr>
        <p:spPr>
          <a:xfrm>
            <a:off x="6020499" y="1838682"/>
            <a:ext cx="5186490" cy="1208014"/>
          </a:xfrm>
          <a:prstGeom prst="rect">
            <a:avLst/>
          </a:prstGeom>
          <a:solidFill>
            <a:schemeClr val="accent6">
              <a:lumMod val="60000"/>
              <a:lumOff val="40000"/>
              <a:alpha val="77000"/>
            </a:schemeClr>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a:latin typeface="Times New Roman" panose="02020603050405020304" pitchFamily="18" charset="0"/>
                <a:ea typeface="Times New Roman" panose="02020603050405020304" pitchFamily="18" charset="0"/>
              </a:rPr>
              <a:t>Total Ct </a:t>
            </a:r>
            <a:r>
              <a:rPr lang="en-US" err="1">
                <a:latin typeface="Times New Roman" panose="02020603050405020304" pitchFamily="18" charset="0"/>
                <a:ea typeface="Times New Roman" panose="02020603050405020304" pitchFamily="18" charset="0"/>
              </a:rPr>
              <a:t>Chng</a:t>
            </a:r>
            <a:r>
              <a:rPr lang="en-US">
                <a:latin typeface="Times New Roman" panose="02020603050405020304" pitchFamily="18" charset="0"/>
                <a:ea typeface="Times New Roman" panose="02020603050405020304" pitchFamily="18" charset="0"/>
              </a:rPr>
              <a:t> Q4-Q1 </a:t>
            </a:r>
          </a:p>
          <a:p>
            <a:pPr algn="ctr"/>
            <a:r>
              <a:rPr kumimoji="0" lang="en-US"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Shruti" panose="020B0502040204020203" pitchFamily="34" charset="0"/>
              </a:rPr>
              <a:t>(</a:t>
            </a: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mn-cs"/>
              </a:rPr>
              <a:t>ratio of no. of transactions done in Q4 vs Q1)</a:t>
            </a:r>
            <a:endParaRPr lang="en-US" sz="6000">
              <a:latin typeface="Times New Roman" panose="02020603050405020304" pitchFamily="18" charset="0"/>
              <a:ea typeface="Times New Roman" panose="02020603050405020304" pitchFamily="18" charset="0"/>
            </a:endParaRPr>
          </a:p>
        </p:txBody>
      </p:sp>
      <p:sp>
        <p:nvSpPr>
          <p:cNvPr id="2" name="TextBox 1">
            <a:extLst>
              <a:ext uri="{FF2B5EF4-FFF2-40B4-BE49-F238E27FC236}">
                <a16:creationId xmlns:a16="http://schemas.microsoft.com/office/drawing/2014/main" id="{D43DB29B-2035-C089-F102-F1C96DE9CB11}"/>
              </a:ext>
            </a:extLst>
          </p:cNvPr>
          <p:cNvSpPr txBox="1"/>
          <p:nvPr/>
        </p:nvSpPr>
        <p:spPr>
          <a:xfrm>
            <a:off x="10520130" y="6457890"/>
            <a:ext cx="1671870" cy="400110"/>
          </a:xfrm>
          <a:prstGeom prst="rect">
            <a:avLst/>
          </a:prstGeom>
          <a:solidFill>
            <a:schemeClr val="accent6">
              <a:lumMod val="60000"/>
              <a:lumOff val="40000"/>
            </a:schemeClr>
          </a:solidFill>
        </p:spPr>
        <p:txBody>
          <a:bodyPr wrap="square" rtlCol="0">
            <a:spAutoFit/>
          </a:bodyPr>
          <a:lstStyle/>
          <a:p>
            <a:pPr algn="ctr"/>
            <a:r>
              <a:rPr lang="en-US" sz="2000">
                <a:latin typeface="Times New Roman" panose="02020603050405020304" pitchFamily="18" charset="0"/>
                <a:cs typeface="Times New Roman" panose="02020603050405020304" pitchFamily="18" charset="0"/>
              </a:rPr>
              <a:t>- Yash Jivani -</a:t>
            </a:r>
          </a:p>
        </p:txBody>
      </p:sp>
      <p:sp>
        <p:nvSpPr>
          <p:cNvPr id="7" name="Slide Number Placeholder 2">
            <a:extLst>
              <a:ext uri="{FF2B5EF4-FFF2-40B4-BE49-F238E27FC236}">
                <a16:creationId xmlns:a16="http://schemas.microsoft.com/office/drawing/2014/main" id="{9CE900A1-5FAE-A4A5-DA38-F8EB6CE40DE0}"/>
              </a:ext>
            </a:extLst>
          </p:cNvPr>
          <p:cNvSpPr txBox="1">
            <a:spLocks/>
          </p:cNvSpPr>
          <p:nvPr/>
        </p:nvSpPr>
        <p:spPr>
          <a:xfrm>
            <a:off x="9148530" y="6104019"/>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ED678AB-02B0-41B4-AC9A-DED9BD329528}" type="slidenum">
              <a:rPr lang="en-US" smtClean="0"/>
              <a:pPr/>
              <a:t>14</a:t>
            </a:fld>
            <a:endParaRPr lang="en-US"/>
          </a:p>
        </p:txBody>
      </p:sp>
    </p:spTree>
    <p:extLst>
      <p:ext uri="{BB962C8B-B14F-4D97-AF65-F5344CB8AC3E}">
        <p14:creationId xmlns:p14="http://schemas.microsoft.com/office/powerpoint/2010/main" val="20720786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4E264FB-C7E0-2BA4-5C0B-D52B2E35A88C}"/>
              </a:ext>
            </a:extLst>
          </p:cNvPr>
          <p:cNvGraphicFramePr>
            <a:graphicFrameLocks noChangeAspect="1"/>
          </p:cNvGraphicFramePr>
          <p:nvPr>
            <p:custDataLst>
              <p:tags r:id="rId1"/>
            </p:custDataLst>
            <p:extLst>
              <p:ext uri="{D42A27DB-BD31-4B8C-83A1-F6EECF244321}">
                <p14:modId xmlns:p14="http://schemas.microsoft.com/office/powerpoint/2010/main" val="1606948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8" progId="TCLayout.ActiveDocument.1">
                  <p:embed/>
                </p:oleObj>
              </mc:Choice>
              <mc:Fallback>
                <p:oleObj name="think-cell Slide" r:id="rId4" imgW="426" imgH="428" progId="TCLayout.ActiveDocument.1">
                  <p:embed/>
                  <p:pic>
                    <p:nvPicPr>
                      <p:cNvPr id="6" name="Object 5" hidden="1">
                        <a:extLst>
                          <a:ext uri="{FF2B5EF4-FFF2-40B4-BE49-F238E27FC236}">
                            <a16:creationId xmlns:a16="http://schemas.microsoft.com/office/drawing/2014/main" id="{74E264FB-C7E0-2BA4-5C0B-D52B2E35A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0A2D7C8F-4B3D-035B-13F4-0FD2017D2C11}"/>
              </a:ext>
            </a:extLst>
          </p:cNvPr>
          <p:cNvPicPr>
            <a:picLocks noChangeAspect="1"/>
          </p:cNvPicPr>
          <p:nvPr/>
        </p:nvPicPr>
        <p:blipFill>
          <a:blip r:embed="rId6"/>
          <a:stretch>
            <a:fillRect/>
          </a:stretch>
        </p:blipFill>
        <p:spPr>
          <a:xfrm>
            <a:off x="0" y="0"/>
            <a:ext cx="11490615" cy="6858000"/>
          </a:xfrm>
          <a:prstGeom prst="rect">
            <a:avLst/>
          </a:prstGeom>
        </p:spPr>
      </p:pic>
      <p:pic>
        <p:nvPicPr>
          <p:cNvPr id="15" name="Picture 14">
            <a:extLst>
              <a:ext uri="{FF2B5EF4-FFF2-40B4-BE49-F238E27FC236}">
                <a16:creationId xmlns:a16="http://schemas.microsoft.com/office/drawing/2014/main" id="{B9217D05-2F29-5083-837E-263352161801}"/>
              </a:ext>
            </a:extLst>
          </p:cNvPr>
          <p:cNvPicPr>
            <a:picLocks noChangeAspect="1"/>
          </p:cNvPicPr>
          <p:nvPr/>
        </p:nvPicPr>
        <p:blipFill rotWithShape="1">
          <a:blip r:embed="rId7">
            <a:alphaModFix amt="84000"/>
          </a:blip>
          <a:srcRect b="4632"/>
          <a:stretch/>
        </p:blipFill>
        <p:spPr>
          <a:xfrm>
            <a:off x="909510" y="802234"/>
            <a:ext cx="3015289" cy="1264160"/>
          </a:xfrm>
          <a:prstGeom prst="rect">
            <a:avLst/>
          </a:prstGeom>
          <a:ln>
            <a:solidFill>
              <a:schemeClr val="tx1"/>
            </a:solidFill>
          </a:ln>
        </p:spPr>
      </p:pic>
      <p:sp>
        <p:nvSpPr>
          <p:cNvPr id="20" name="Title 1">
            <a:extLst>
              <a:ext uri="{FF2B5EF4-FFF2-40B4-BE49-F238E27FC236}">
                <a16:creationId xmlns:a16="http://schemas.microsoft.com/office/drawing/2014/main" id="{45EE4207-84E1-0D5A-4111-F6206A379C6C}"/>
              </a:ext>
            </a:extLst>
          </p:cNvPr>
          <p:cNvSpPr txBox="1">
            <a:spLocks/>
          </p:cNvSpPr>
          <p:nvPr/>
        </p:nvSpPr>
        <p:spPr>
          <a:xfrm>
            <a:off x="6096000" y="462887"/>
            <a:ext cx="5186490" cy="1208014"/>
          </a:xfrm>
          <a:prstGeom prst="rect">
            <a:avLst/>
          </a:prstGeom>
          <a:solidFill>
            <a:schemeClr val="accent6">
              <a:lumMod val="60000"/>
              <a:lumOff val="40000"/>
              <a:alpha val="77000"/>
            </a:schemeClr>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a:latin typeface="Times New Roman" panose="02020603050405020304" pitchFamily="18" charset="0"/>
                <a:ea typeface="Times New Roman" panose="02020603050405020304" pitchFamily="18" charset="0"/>
              </a:rPr>
              <a:t>Total Ct </a:t>
            </a:r>
            <a:r>
              <a:rPr lang="en-US" err="1">
                <a:latin typeface="Times New Roman" panose="02020603050405020304" pitchFamily="18" charset="0"/>
                <a:ea typeface="Times New Roman" panose="02020603050405020304" pitchFamily="18" charset="0"/>
              </a:rPr>
              <a:t>Chng</a:t>
            </a:r>
            <a:r>
              <a:rPr lang="en-US">
                <a:latin typeface="Times New Roman" panose="02020603050405020304" pitchFamily="18" charset="0"/>
                <a:ea typeface="Times New Roman" panose="02020603050405020304" pitchFamily="18" charset="0"/>
              </a:rPr>
              <a:t> Q4-Q1 </a:t>
            </a:r>
          </a:p>
          <a:p>
            <a:pPr algn="ctr"/>
            <a:r>
              <a:rPr kumimoji="0" lang="en-US"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Shruti" panose="020B0502040204020203" pitchFamily="34" charset="0"/>
              </a:rPr>
              <a:t>(</a:t>
            </a: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mn-cs"/>
              </a:rPr>
              <a:t>ratio of no. of transactions done in Q4 vs Q1)</a:t>
            </a:r>
            <a:endParaRPr lang="en-US" sz="6000">
              <a:latin typeface="Times New Roman" panose="02020603050405020304" pitchFamily="18" charset="0"/>
              <a:ea typeface="Times New Roman" panose="02020603050405020304" pitchFamily="18" charset="0"/>
            </a:endParaRPr>
          </a:p>
        </p:txBody>
      </p:sp>
      <p:pic>
        <p:nvPicPr>
          <p:cNvPr id="22" name="Picture 21">
            <a:extLst>
              <a:ext uri="{FF2B5EF4-FFF2-40B4-BE49-F238E27FC236}">
                <a16:creationId xmlns:a16="http://schemas.microsoft.com/office/drawing/2014/main" id="{198DADAF-FF9F-69D1-2747-CCA7E1BFD1A3}"/>
              </a:ext>
            </a:extLst>
          </p:cNvPr>
          <p:cNvPicPr>
            <a:picLocks noChangeAspect="1"/>
          </p:cNvPicPr>
          <p:nvPr/>
        </p:nvPicPr>
        <p:blipFill>
          <a:blip r:embed="rId8">
            <a:alphaModFix amt="95000"/>
          </a:blip>
          <a:stretch>
            <a:fillRect/>
          </a:stretch>
        </p:blipFill>
        <p:spPr>
          <a:xfrm>
            <a:off x="1326530" y="4444111"/>
            <a:ext cx="1435174" cy="1485976"/>
          </a:xfrm>
          <a:prstGeom prst="rect">
            <a:avLst/>
          </a:prstGeom>
          <a:ln>
            <a:solidFill>
              <a:schemeClr val="tx1"/>
            </a:solidFill>
          </a:ln>
        </p:spPr>
      </p:pic>
      <p:sp>
        <p:nvSpPr>
          <p:cNvPr id="2" name="TextBox 1">
            <a:extLst>
              <a:ext uri="{FF2B5EF4-FFF2-40B4-BE49-F238E27FC236}">
                <a16:creationId xmlns:a16="http://schemas.microsoft.com/office/drawing/2014/main" id="{79DEC7C1-EDF6-CA84-71B2-A570F4733BB1}"/>
              </a:ext>
            </a:extLst>
          </p:cNvPr>
          <p:cNvSpPr txBox="1"/>
          <p:nvPr/>
        </p:nvSpPr>
        <p:spPr>
          <a:xfrm>
            <a:off x="10520130" y="6457890"/>
            <a:ext cx="1671870" cy="400110"/>
          </a:xfrm>
          <a:prstGeom prst="rect">
            <a:avLst/>
          </a:prstGeom>
          <a:solidFill>
            <a:schemeClr val="accent6">
              <a:lumMod val="60000"/>
              <a:lumOff val="40000"/>
            </a:schemeClr>
          </a:solidFill>
        </p:spPr>
        <p:txBody>
          <a:bodyPr wrap="square" rtlCol="0">
            <a:spAutoFit/>
          </a:bodyPr>
          <a:lstStyle/>
          <a:p>
            <a:pPr algn="ctr"/>
            <a:r>
              <a:rPr lang="en-US" sz="2000">
                <a:latin typeface="Times New Roman" panose="02020603050405020304" pitchFamily="18" charset="0"/>
                <a:cs typeface="Times New Roman" panose="02020603050405020304" pitchFamily="18" charset="0"/>
              </a:rPr>
              <a:t>- Yash Jivani -</a:t>
            </a:r>
          </a:p>
        </p:txBody>
      </p:sp>
      <p:sp>
        <p:nvSpPr>
          <p:cNvPr id="4" name="Slide Number Placeholder 2">
            <a:extLst>
              <a:ext uri="{FF2B5EF4-FFF2-40B4-BE49-F238E27FC236}">
                <a16:creationId xmlns:a16="http://schemas.microsoft.com/office/drawing/2014/main" id="{AB0ACC46-5548-2F65-4487-A003B038BE93}"/>
              </a:ext>
            </a:extLst>
          </p:cNvPr>
          <p:cNvSpPr txBox="1">
            <a:spLocks/>
          </p:cNvSpPr>
          <p:nvPr/>
        </p:nvSpPr>
        <p:spPr>
          <a:xfrm>
            <a:off x="9148530" y="6104019"/>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ED678AB-02B0-41B4-AC9A-DED9BD329528}" type="slidenum">
              <a:rPr lang="en-US" smtClean="0"/>
              <a:pPr/>
              <a:t>15</a:t>
            </a:fld>
            <a:endParaRPr lang="en-US"/>
          </a:p>
        </p:txBody>
      </p:sp>
    </p:spTree>
    <p:extLst>
      <p:ext uri="{BB962C8B-B14F-4D97-AF65-F5344CB8AC3E}">
        <p14:creationId xmlns:p14="http://schemas.microsoft.com/office/powerpoint/2010/main" val="31981172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04812C46-200A-4DEB-A05E-3ED6C68C23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E2D9FA9-D359-6F04-5A1A-37D50F2E85D9}"/>
              </a:ext>
            </a:extLst>
          </p:cNvPr>
          <p:cNvSpPr>
            <a:spLocks noGrp="1"/>
          </p:cNvSpPr>
          <p:nvPr>
            <p:ph type="ctrTitle"/>
          </p:nvPr>
        </p:nvSpPr>
        <p:spPr>
          <a:xfrm>
            <a:off x="7531610" y="365125"/>
            <a:ext cx="3822189" cy="1306359"/>
          </a:xfrm>
        </p:spPr>
        <p:txBody>
          <a:bodyPr vert="horz" lIns="91440" tIns="45720" rIns="91440" bIns="45720" rtlCol="0" anchor="ctr">
            <a:normAutofit/>
          </a:bodyPr>
          <a:lstStyle/>
          <a:p>
            <a:pPr algn="l"/>
            <a:r>
              <a:rPr lang="en-US" sz="4000" b="1">
                <a:latin typeface="Times New Roman" panose="02020603050405020304" pitchFamily="18" charset="0"/>
                <a:cs typeface="Times New Roman" panose="02020603050405020304" pitchFamily="18" charset="0"/>
              </a:rPr>
              <a:t> Goals of EDA</a:t>
            </a:r>
            <a:endParaRPr lang="en-US" sz="4000">
              <a:latin typeface="Times New Roman" panose="02020603050405020304" pitchFamily="18" charset="0"/>
              <a:cs typeface="Times New Roman" panose="02020603050405020304" pitchFamily="18" charset="0"/>
            </a:endParaRPr>
          </a:p>
        </p:txBody>
      </p:sp>
      <p:pic>
        <p:nvPicPr>
          <p:cNvPr id="5" name="Picture 4" descr="Arrows in a dartboard">
            <a:extLst>
              <a:ext uri="{FF2B5EF4-FFF2-40B4-BE49-F238E27FC236}">
                <a16:creationId xmlns:a16="http://schemas.microsoft.com/office/drawing/2014/main" id="{2E98F804-7492-7F44-2DC8-7EF038499ED9}"/>
              </a:ext>
            </a:extLst>
          </p:cNvPr>
          <p:cNvPicPr>
            <a:picLocks noChangeAspect="1"/>
          </p:cNvPicPr>
          <p:nvPr/>
        </p:nvPicPr>
        <p:blipFill rotWithShape="1">
          <a:blip r:embed="rId2"/>
          <a:srcRect l="29363" r="3123" b="-1"/>
          <a:stretch/>
        </p:blipFill>
        <p:spPr>
          <a:xfrm>
            <a:off x="1" y="10"/>
            <a:ext cx="6936390" cy="6857990"/>
          </a:xfrm>
          <a:prstGeom prst="rect">
            <a:avLst/>
          </a:prstGeom>
        </p:spPr>
      </p:pic>
      <p:sp>
        <p:nvSpPr>
          <p:cNvPr id="3" name="Subtitle 2">
            <a:extLst>
              <a:ext uri="{FF2B5EF4-FFF2-40B4-BE49-F238E27FC236}">
                <a16:creationId xmlns:a16="http://schemas.microsoft.com/office/drawing/2014/main" id="{A3B70E7C-5F23-B153-6F2F-B134B3F4A979}"/>
              </a:ext>
            </a:extLst>
          </p:cNvPr>
          <p:cNvSpPr>
            <a:spLocks noGrp="1"/>
          </p:cNvSpPr>
          <p:nvPr>
            <p:ph type="subTitle" idx="1"/>
          </p:nvPr>
        </p:nvSpPr>
        <p:spPr>
          <a:xfrm>
            <a:off x="7049728" y="1769806"/>
            <a:ext cx="4984955" cy="4955459"/>
          </a:xfrm>
        </p:spPr>
        <p:txBody>
          <a:bodyPr vert="horz" lIns="91440" tIns="45720" rIns="91440" bIns="45720" rtlCol="0">
            <a:normAutofit/>
          </a:bodyPr>
          <a:lstStyle/>
          <a:p>
            <a:pPr marL="342900" indent="-228600" algn="just">
              <a:buFont typeface="Arial" panose="020B0604020202020204" pitchFamily="34" charset="0"/>
              <a:buChar char="•"/>
            </a:pPr>
            <a:r>
              <a:rPr lang="en-US" sz="2000">
                <a:latin typeface="Times New Roman" panose="02020603050405020304" pitchFamily="18" charset="0"/>
                <a:cs typeface="Times New Roman" panose="02020603050405020304" pitchFamily="18" charset="0"/>
              </a:rPr>
              <a:t>The objective is to offer an initial collection of predictor variables and machine learning models that could be employed for predictive modeling. </a:t>
            </a:r>
          </a:p>
          <a:p>
            <a:pPr marL="342900" indent="-228600" algn="just">
              <a:buFont typeface="Arial" panose="020B0604020202020204" pitchFamily="34" charset="0"/>
              <a:buChar char="•"/>
            </a:pPr>
            <a:r>
              <a:rPr lang="en-US" sz="2000">
                <a:latin typeface="Times New Roman" panose="02020603050405020304" pitchFamily="18" charset="0"/>
                <a:cs typeface="Times New Roman" panose="02020603050405020304" pitchFamily="18" charset="0"/>
              </a:rPr>
              <a:t>This would involve identifying a set of features that may potentially have a significant impact on predicting customer attrition. </a:t>
            </a:r>
          </a:p>
          <a:p>
            <a:pPr marL="342900" indent="-228600" algn="just">
              <a:buFont typeface="Arial" panose="020B0604020202020204" pitchFamily="34" charset="0"/>
              <a:buChar char="•"/>
            </a:pPr>
            <a:r>
              <a:rPr lang="en-US" sz="2000">
                <a:latin typeface="Times New Roman" panose="02020603050405020304" pitchFamily="18" charset="0"/>
                <a:cs typeface="Times New Roman" panose="02020603050405020304" pitchFamily="18" charset="0"/>
              </a:rPr>
              <a:t>Additionally, exploring various machine learning techniques that could be utilized to generate accurate predictions based on the identified features. </a:t>
            </a:r>
          </a:p>
          <a:p>
            <a:pPr marL="342900" indent="-228600" algn="just">
              <a:buFont typeface="Arial" panose="020B0604020202020204" pitchFamily="34" charset="0"/>
              <a:buChar char="•"/>
            </a:pPr>
            <a:r>
              <a:rPr lang="en-US" sz="2000">
                <a:latin typeface="Times New Roman" panose="02020603050405020304" pitchFamily="18" charset="0"/>
                <a:cs typeface="Times New Roman" panose="02020603050405020304" pitchFamily="18" charset="0"/>
              </a:rPr>
              <a:t>The end goal is to create a reliable and effective model that can be used to predict which customers are likely to cancel their credit card services with Very Nice Bank.</a:t>
            </a:r>
          </a:p>
          <a:p>
            <a:pPr marL="342900" indent="-228600" algn="just">
              <a:buFont typeface="Arial" panose="020B0604020202020204" pitchFamily="34" charset="0"/>
              <a:buChar char="•"/>
            </a:pPr>
            <a:endParaRPr lang="en-US" sz="200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7888070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4E264FB-C7E0-2BA4-5C0B-D52B2E35A88C}"/>
              </a:ext>
            </a:extLst>
          </p:cNvPr>
          <p:cNvGraphicFramePr>
            <a:graphicFrameLocks noChangeAspect="1"/>
          </p:cNvGraphicFramePr>
          <p:nvPr>
            <p:custDataLst>
              <p:tags r:id="rId1"/>
            </p:custDataLst>
            <p:extLst>
              <p:ext uri="{D42A27DB-BD31-4B8C-83A1-F6EECF244321}">
                <p14:modId xmlns:p14="http://schemas.microsoft.com/office/powerpoint/2010/main" val="3791588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8" progId="TCLayout.ActiveDocument.1">
                  <p:embed/>
                </p:oleObj>
              </mc:Choice>
              <mc:Fallback>
                <p:oleObj name="think-cell Slide" r:id="rId4" imgW="426" imgH="428" progId="TCLayout.ActiveDocument.1">
                  <p:embed/>
                  <p:pic>
                    <p:nvPicPr>
                      <p:cNvPr id="6" name="Object 5" hidden="1">
                        <a:extLst>
                          <a:ext uri="{FF2B5EF4-FFF2-40B4-BE49-F238E27FC236}">
                            <a16:creationId xmlns:a16="http://schemas.microsoft.com/office/drawing/2014/main" id="{74E264FB-C7E0-2BA4-5C0B-D52B2E35A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32F169A7-0FE5-B4DD-079F-32E6B7853D69}"/>
              </a:ext>
            </a:extLst>
          </p:cNvPr>
          <p:cNvPicPr>
            <a:picLocks noChangeAspect="1"/>
          </p:cNvPicPr>
          <p:nvPr/>
        </p:nvPicPr>
        <p:blipFill rotWithShape="1">
          <a:blip r:embed="rId6"/>
          <a:srcRect r="9096"/>
          <a:stretch/>
        </p:blipFill>
        <p:spPr>
          <a:xfrm>
            <a:off x="4478469" y="0"/>
            <a:ext cx="7713531" cy="6858000"/>
          </a:xfrm>
          <a:prstGeom prst="rect">
            <a:avLst/>
          </a:prstGeom>
        </p:spPr>
      </p:pic>
      <p:sp>
        <p:nvSpPr>
          <p:cNvPr id="2" name="Title 1">
            <a:extLst>
              <a:ext uri="{FF2B5EF4-FFF2-40B4-BE49-F238E27FC236}">
                <a16:creationId xmlns:a16="http://schemas.microsoft.com/office/drawing/2014/main" id="{8C867609-F891-6C90-0A82-C1DAA03E3404}"/>
              </a:ext>
            </a:extLst>
          </p:cNvPr>
          <p:cNvSpPr>
            <a:spLocks noGrp="1"/>
          </p:cNvSpPr>
          <p:nvPr>
            <p:ph type="title"/>
          </p:nvPr>
        </p:nvSpPr>
        <p:spPr>
          <a:xfrm>
            <a:off x="377506" y="1363415"/>
            <a:ext cx="4100963" cy="1325563"/>
          </a:xfrm>
          <a:solidFill>
            <a:schemeClr val="accent6">
              <a:lumMod val="60000"/>
              <a:lumOff val="40000"/>
            </a:schemeClr>
          </a:solidFill>
        </p:spPr>
        <p:style>
          <a:lnRef idx="1">
            <a:schemeClr val="accent6"/>
          </a:lnRef>
          <a:fillRef idx="2">
            <a:schemeClr val="accent6"/>
          </a:fillRef>
          <a:effectRef idx="1">
            <a:schemeClr val="accent6"/>
          </a:effectRef>
          <a:fontRef idx="minor">
            <a:schemeClr val="dk1"/>
          </a:fontRef>
        </p:style>
        <p:txBody>
          <a:bodyPr vert="horz"/>
          <a:lstStyle/>
          <a:p>
            <a:pPr algn="ctr"/>
            <a:r>
              <a:rPr lang="en-US" sz="4400">
                <a:effectLst/>
                <a:latin typeface="Times New Roman" panose="02020603050405020304" pitchFamily="18" charset="0"/>
                <a:ea typeface="Times New Roman" panose="02020603050405020304" pitchFamily="18" charset="0"/>
              </a:rPr>
              <a:t>Attrition Count</a:t>
            </a:r>
          </a:p>
        </p:txBody>
      </p:sp>
      <p:sp>
        <p:nvSpPr>
          <p:cNvPr id="13" name="TextBox 12">
            <a:extLst>
              <a:ext uri="{FF2B5EF4-FFF2-40B4-BE49-F238E27FC236}">
                <a16:creationId xmlns:a16="http://schemas.microsoft.com/office/drawing/2014/main" id="{28DCC5F9-FCD7-BB91-5D7F-CD5106D76853}"/>
              </a:ext>
            </a:extLst>
          </p:cNvPr>
          <p:cNvSpPr txBox="1"/>
          <p:nvPr/>
        </p:nvSpPr>
        <p:spPr>
          <a:xfrm>
            <a:off x="451642" y="2920555"/>
            <a:ext cx="3873470" cy="2862322"/>
          </a:xfrm>
          <a:prstGeom prst="rect">
            <a:avLst/>
          </a:prstGeom>
          <a:noFill/>
        </p:spPr>
        <p:txBody>
          <a:bodyPr wrap="square" rtlCol="0">
            <a:spAutoFit/>
          </a:bodyPr>
          <a:lstStyle/>
          <a:p>
            <a:pPr marL="285750" indent="-285750" algn="just">
              <a:buFont typeface="Arial" panose="020B0604020202020204" pitchFamily="34" charset="0"/>
              <a:buChar char="•"/>
            </a:pPr>
            <a:r>
              <a:rPr lang="en-US">
                <a:latin typeface="Times New Roman" panose="02020603050405020304" pitchFamily="18" charset="0"/>
                <a:cs typeface="Times New Roman" panose="02020603050405020304" pitchFamily="18" charset="0"/>
              </a:rPr>
              <a:t>Data set contains </a:t>
            </a:r>
            <a:r>
              <a:rPr lang="en-US" u="sng">
                <a:solidFill>
                  <a:srgbClr val="00B050"/>
                </a:solidFill>
                <a:latin typeface="Times New Roman" panose="02020603050405020304" pitchFamily="18" charset="0"/>
                <a:cs typeface="Times New Roman" panose="02020603050405020304" pitchFamily="18" charset="0"/>
              </a:rPr>
              <a:t>86.9%</a:t>
            </a:r>
            <a:r>
              <a:rPr lang="en-US">
                <a:latin typeface="Times New Roman" panose="02020603050405020304" pitchFamily="18" charset="0"/>
                <a:cs typeface="Times New Roman" panose="02020603050405020304" pitchFamily="18" charset="0"/>
              </a:rPr>
              <a:t> of the customers who are using the bank services.</a:t>
            </a:r>
          </a:p>
          <a:p>
            <a:pPr marL="285750" indent="-285750" algn="just">
              <a:buFont typeface="Arial" panose="020B0604020202020204" pitchFamily="34" charset="0"/>
              <a:buChar char="•"/>
            </a:pPr>
            <a:r>
              <a:rPr lang="en-US">
                <a:latin typeface="Times New Roman" panose="02020603050405020304" pitchFamily="18" charset="0"/>
                <a:cs typeface="Times New Roman" panose="02020603050405020304" pitchFamily="18" charset="0"/>
              </a:rPr>
              <a:t>It contains </a:t>
            </a:r>
            <a:r>
              <a:rPr lang="en-US" u="sng">
                <a:solidFill>
                  <a:srgbClr val="FF0000"/>
                </a:solidFill>
                <a:latin typeface="Times New Roman" panose="02020603050405020304" pitchFamily="18" charset="0"/>
                <a:cs typeface="Times New Roman" panose="02020603050405020304" pitchFamily="18" charset="0"/>
              </a:rPr>
              <a:t>13.1% </a:t>
            </a:r>
            <a:r>
              <a:rPr lang="en-US">
                <a:latin typeface="Times New Roman" panose="02020603050405020304" pitchFamily="18" charset="0"/>
                <a:cs typeface="Times New Roman" panose="02020603050405020304" pitchFamily="18" charset="0"/>
              </a:rPr>
              <a:t>of the customers who are not using the services of the bank.</a:t>
            </a:r>
          </a:p>
          <a:p>
            <a:pPr marL="285750" indent="-285750" algn="just">
              <a:buFont typeface="Arial" panose="020B0604020202020204" pitchFamily="34" charset="0"/>
              <a:buChar char="•"/>
            </a:pPr>
            <a:r>
              <a:rPr lang="en-US" sz="1800">
                <a:latin typeface="Times New Roman" panose="02020603050405020304" pitchFamily="18" charset="0"/>
                <a:cs typeface="Times New Roman" panose="02020603050405020304" pitchFamily="18" charset="0"/>
              </a:rPr>
              <a:t>Are there any specific feature/category/sub-category in which the customers are dropping off the bank services?</a:t>
            </a:r>
          </a:p>
        </p:txBody>
      </p:sp>
      <p:sp>
        <p:nvSpPr>
          <p:cNvPr id="10" name="TextBox 9">
            <a:extLst>
              <a:ext uri="{FF2B5EF4-FFF2-40B4-BE49-F238E27FC236}">
                <a16:creationId xmlns:a16="http://schemas.microsoft.com/office/drawing/2014/main" id="{DADA537E-C0FD-3573-9F60-5A0B7F5394B7}"/>
              </a:ext>
            </a:extLst>
          </p:cNvPr>
          <p:cNvSpPr txBox="1"/>
          <p:nvPr/>
        </p:nvSpPr>
        <p:spPr>
          <a:xfrm>
            <a:off x="10520130" y="6457890"/>
            <a:ext cx="1671870" cy="400110"/>
          </a:xfrm>
          <a:prstGeom prst="rect">
            <a:avLst/>
          </a:prstGeom>
          <a:solidFill>
            <a:schemeClr val="accent6">
              <a:lumMod val="60000"/>
              <a:lumOff val="40000"/>
            </a:schemeClr>
          </a:solidFill>
        </p:spPr>
        <p:txBody>
          <a:bodyPr wrap="square" rtlCol="0">
            <a:spAutoFit/>
          </a:bodyPr>
          <a:lstStyle/>
          <a:p>
            <a:pPr algn="ctr"/>
            <a:r>
              <a:rPr lang="en-US" sz="2000">
                <a:latin typeface="Times New Roman" panose="02020603050405020304" pitchFamily="18" charset="0"/>
                <a:cs typeface="Times New Roman" panose="02020603050405020304" pitchFamily="18" charset="0"/>
              </a:rPr>
              <a:t>- Yash Jivani -</a:t>
            </a:r>
          </a:p>
        </p:txBody>
      </p:sp>
      <p:sp>
        <p:nvSpPr>
          <p:cNvPr id="3" name="Slide Number Placeholder 2">
            <a:extLst>
              <a:ext uri="{FF2B5EF4-FFF2-40B4-BE49-F238E27FC236}">
                <a16:creationId xmlns:a16="http://schemas.microsoft.com/office/drawing/2014/main" id="{AABEDCC7-FC82-86A5-E5C3-BA8C421B3BAB}"/>
              </a:ext>
            </a:extLst>
          </p:cNvPr>
          <p:cNvSpPr>
            <a:spLocks noGrp="1"/>
          </p:cNvSpPr>
          <p:nvPr>
            <p:ph type="sldNum" sz="quarter" idx="12"/>
          </p:nvPr>
        </p:nvSpPr>
        <p:spPr>
          <a:xfrm>
            <a:off x="8763000" y="6092765"/>
            <a:ext cx="2743200" cy="365125"/>
          </a:xfrm>
        </p:spPr>
        <p:txBody>
          <a:bodyPr/>
          <a:lstStyle/>
          <a:p>
            <a:fld id="{3ED678AB-02B0-41B4-AC9A-DED9BD329528}" type="slidenum">
              <a:rPr lang="en-US" smtClean="0"/>
              <a:t>3</a:t>
            </a:fld>
            <a:endParaRPr lang="en-US"/>
          </a:p>
        </p:txBody>
      </p:sp>
    </p:spTree>
    <p:extLst>
      <p:ext uri="{BB962C8B-B14F-4D97-AF65-F5344CB8AC3E}">
        <p14:creationId xmlns:p14="http://schemas.microsoft.com/office/powerpoint/2010/main" val="35352730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4E264FB-C7E0-2BA4-5C0B-D52B2E35A88C}"/>
              </a:ext>
            </a:extLst>
          </p:cNvPr>
          <p:cNvGraphicFramePr>
            <a:graphicFrameLocks noChangeAspect="1"/>
          </p:cNvGraphicFramePr>
          <p:nvPr>
            <p:custDataLst>
              <p:tags r:id="rId1"/>
            </p:custDataLst>
            <p:extLst>
              <p:ext uri="{D42A27DB-BD31-4B8C-83A1-F6EECF244321}">
                <p14:modId xmlns:p14="http://schemas.microsoft.com/office/powerpoint/2010/main" val="3441716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8" progId="TCLayout.ActiveDocument.1">
                  <p:embed/>
                </p:oleObj>
              </mc:Choice>
              <mc:Fallback>
                <p:oleObj name="think-cell Slide" r:id="rId4" imgW="426" imgH="428" progId="TCLayout.ActiveDocument.1">
                  <p:embed/>
                  <p:pic>
                    <p:nvPicPr>
                      <p:cNvPr id="6" name="Object 5" hidden="1">
                        <a:extLst>
                          <a:ext uri="{FF2B5EF4-FFF2-40B4-BE49-F238E27FC236}">
                            <a16:creationId xmlns:a16="http://schemas.microsoft.com/office/drawing/2014/main" id="{74E264FB-C7E0-2BA4-5C0B-D52B2E35A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7" name="Picture 16">
            <a:extLst>
              <a:ext uri="{FF2B5EF4-FFF2-40B4-BE49-F238E27FC236}">
                <a16:creationId xmlns:a16="http://schemas.microsoft.com/office/drawing/2014/main" id="{3EBEBEEC-AD9B-305F-5E08-4AFB6F23C8FD}"/>
              </a:ext>
            </a:extLst>
          </p:cNvPr>
          <p:cNvPicPr>
            <a:picLocks noChangeAspect="1"/>
          </p:cNvPicPr>
          <p:nvPr/>
        </p:nvPicPr>
        <p:blipFill>
          <a:blip r:embed="rId6"/>
          <a:stretch>
            <a:fillRect/>
          </a:stretch>
        </p:blipFill>
        <p:spPr>
          <a:xfrm>
            <a:off x="1" y="4608"/>
            <a:ext cx="9274882" cy="6830538"/>
          </a:xfrm>
          <a:prstGeom prst="rect">
            <a:avLst/>
          </a:prstGeom>
        </p:spPr>
      </p:pic>
      <p:sp>
        <p:nvSpPr>
          <p:cNvPr id="9" name="TextBox 8">
            <a:extLst>
              <a:ext uri="{FF2B5EF4-FFF2-40B4-BE49-F238E27FC236}">
                <a16:creationId xmlns:a16="http://schemas.microsoft.com/office/drawing/2014/main" id="{D22FE04A-F69F-3EBC-73A3-5FB1EAF0FC81}"/>
              </a:ext>
            </a:extLst>
          </p:cNvPr>
          <p:cNvSpPr txBox="1"/>
          <p:nvPr/>
        </p:nvSpPr>
        <p:spPr>
          <a:xfrm>
            <a:off x="8192132" y="3275823"/>
            <a:ext cx="3263797" cy="2031325"/>
          </a:xfrm>
          <a:prstGeom prst="rect">
            <a:avLst/>
          </a:prstGeom>
          <a:noFill/>
        </p:spPr>
        <p:txBody>
          <a:bodyPr wrap="square" rtlCol="0">
            <a:spAutoFit/>
          </a:bodyPr>
          <a:lstStyle/>
          <a:p>
            <a:pPr marL="285750" indent="-285750" algn="just">
              <a:buFont typeface="Arial" panose="020B0604020202020204" pitchFamily="34" charset="0"/>
              <a:buChar char="•"/>
            </a:pPr>
            <a:r>
              <a:rPr lang="en-US">
                <a:latin typeface="Times New Roman" panose="02020603050405020304" pitchFamily="18" charset="0"/>
                <a:cs typeface="Times New Roman" panose="02020603050405020304" pitchFamily="18" charset="0"/>
              </a:rPr>
              <a:t>745 out of 786 (</a:t>
            </a:r>
            <a:r>
              <a:rPr lang="en-US" b="1">
                <a:latin typeface="Times New Roman" panose="02020603050405020304" pitchFamily="18" charset="0"/>
                <a:cs typeface="Times New Roman" panose="02020603050405020304" pitchFamily="18" charset="0"/>
              </a:rPr>
              <a:t>95%</a:t>
            </a:r>
            <a:r>
              <a:rPr lang="en-US">
                <a:latin typeface="Times New Roman" panose="02020603050405020304" pitchFamily="18" charset="0"/>
                <a:cs typeface="Times New Roman" panose="02020603050405020304" pitchFamily="18" charset="0"/>
              </a:rPr>
              <a:t>) churners are using bank services </a:t>
            </a:r>
            <a:r>
              <a:rPr lang="en-US" b="1">
                <a:latin typeface="Times New Roman" panose="02020603050405020304" pitchFamily="18" charset="0"/>
                <a:cs typeface="Times New Roman" panose="02020603050405020304" pitchFamily="18" charset="0"/>
              </a:rPr>
              <a:t>more than 2 years</a:t>
            </a:r>
            <a:r>
              <a:rPr lang="en-US">
                <a:latin typeface="Times New Roman" panose="02020603050405020304" pitchFamily="18" charset="0"/>
                <a:cs typeface="Times New Roman" panose="02020603050405020304" pitchFamily="18" charset="0"/>
              </a:rPr>
              <a:t>.</a:t>
            </a:r>
          </a:p>
          <a:p>
            <a:pPr marL="285750" indent="-285750" algn="just">
              <a:buFont typeface="Arial" panose="020B0604020202020204" pitchFamily="34" charset="0"/>
              <a:buChar char="•"/>
            </a:pPr>
            <a:r>
              <a:rPr lang="en-US">
                <a:latin typeface="Times New Roman" panose="02020603050405020304" pitchFamily="18" charset="0"/>
                <a:cs typeface="Times New Roman" panose="02020603050405020304" pitchFamily="18" charset="0"/>
              </a:rPr>
              <a:t>338 out of 745 (</a:t>
            </a:r>
            <a:r>
              <a:rPr lang="en-US" b="1">
                <a:latin typeface="Times New Roman" panose="02020603050405020304" pitchFamily="18" charset="0"/>
                <a:cs typeface="Times New Roman" panose="02020603050405020304" pitchFamily="18" charset="0"/>
              </a:rPr>
              <a:t>45%</a:t>
            </a:r>
            <a:r>
              <a:rPr lang="en-US">
                <a:latin typeface="Times New Roman" panose="02020603050405020304" pitchFamily="18" charset="0"/>
                <a:cs typeface="Times New Roman" panose="02020603050405020304" pitchFamily="18" charset="0"/>
              </a:rPr>
              <a:t>) churners are the customers using services b/w </a:t>
            </a:r>
            <a:r>
              <a:rPr lang="en-US" b="1">
                <a:latin typeface="Times New Roman" panose="02020603050405020304" pitchFamily="18" charset="0"/>
                <a:cs typeface="Times New Roman" panose="02020603050405020304" pitchFamily="18" charset="0"/>
              </a:rPr>
              <a:t>3 to 3-1/2 years</a:t>
            </a:r>
            <a:r>
              <a:rPr lang="en-US">
                <a:latin typeface="Times New Roman" panose="02020603050405020304" pitchFamily="18" charset="0"/>
                <a:cs typeface="Times New Roman" panose="02020603050405020304" pitchFamily="18" charset="0"/>
              </a:rPr>
              <a:t>.</a:t>
            </a:r>
          </a:p>
        </p:txBody>
      </p:sp>
      <p:sp>
        <p:nvSpPr>
          <p:cNvPr id="10" name="Title 1">
            <a:extLst>
              <a:ext uri="{FF2B5EF4-FFF2-40B4-BE49-F238E27FC236}">
                <a16:creationId xmlns:a16="http://schemas.microsoft.com/office/drawing/2014/main" id="{41145529-4C3A-620A-025A-1D87AD056A9E}"/>
              </a:ext>
            </a:extLst>
          </p:cNvPr>
          <p:cNvSpPr txBox="1">
            <a:spLocks/>
          </p:cNvSpPr>
          <p:nvPr/>
        </p:nvSpPr>
        <p:spPr>
          <a:xfrm>
            <a:off x="7950186" y="1236133"/>
            <a:ext cx="3954011" cy="1325563"/>
          </a:xfrm>
          <a:prstGeom prst="rect">
            <a:avLst/>
          </a:prstGeom>
          <a:solidFill>
            <a:schemeClr val="accent6">
              <a:lumMod val="60000"/>
              <a:lumOff val="40000"/>
            </a:schemeClr>
          </a:solidFill>
        </p:spPr>
        <p:style>
          <a:lnRef idx="1">
            <a:schemeClr val="accent6"/>
          </a:lnRef>
          <a:fillRef idx="2">
            <a:schemeClr val="accent6"/>
          </a:fillRef>
          <a:effectRef idx="1">
            <a:schemeClr val="accent6"/>
          </a:effectRef>
          <a:fontRef idx="minor">
            <a:schemeClr val="dk1"/>
          </a:fontRef>
        </p:style>
        <p:txBody>
          <a:bodyPr vert="horz" lIns="91440" tIns="45720" rIns="91440" bIns="45720" rtlCol="0" anchor="ctr">
            <a:normAutofit/>
          </a:bodyPr>
          <a:lstStyle>
            <a:lvl1pPr algn="ctr">
              <a:lnSpc>
                <a:spcPct val="90000"/>
              </a:lnSpc>
              <a:spcBef>
                <a:spcPct val="0"/>
              </a:spcBef>
              <a:buNone/>
              <a:defRPr sz="4400">
                <a:solidFill>
                  <a:schemeClr val="dk1"/>
                </a:solidFill>
                <a:effectLst/>
                <a:latin typeface="Times New Roman" panose="02020603050405020304" pitchFamily="18" charset="0"/>
                <a:ea typeface="Times New Roman" panose="02020603050405020304" pitchFamily="18"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t>Months on book</a:t>
            </a:r>
          </a:p>
          <a:p>
            <a:r>
              <a:rPr lang="en-US" sz="2000"/>
              <a:t>(Period of relationship with bank)</a:t>
            </a:r>
          </a:p>
        </p:txBody>
      </p:sp>
      <p:pic>
        <p:nvPicPr>
          <p:cNvPr id="20" name="Picture 19">
            <a:extLst>
              <a:ext uri="{FF2B5EF4-FFF2-40B4-BE49-F238E27FC236}">
                <a16:creationId xmlns:a16="http://schemas.microsoft.com/office/drawing/2014/main" id="{CBC0359A-9CD5-67E5-E22B-5E2382CA897B}"/>
              </a:ext>
            </a:extLst>
          </p:cNvPr>
          <p:cNvPicPr>
            <a:picLocks noChangeAspect="1"/>
          </p:cNvPicPr>
          <p:nvPr/>
        </p:nvPicPr>
        <p:blipFill rotWithShape="1">
          <a:blip r:embed="rId7"/>
          <a:srcRect b="4632"/>
          <a:stretch/>
        </p:blipFill>
        <p:spPr>
          <a:xfrm>
            <a:off x="1000964" y="229080"/>
            <a:ext cx="3015289" cy="1264160"/>
          </a:xfrm>
          <a:prstGeom prst="rect">
            <a:avLst/>
          </a:prstGeom>
          <a:ln>
            <a:solidFill>
              <a:schemeClr val="tx1"/>
            </a:solidFill>
          </a:ln>
        </p:spPr>
      </p:pic>
      <p:sp>
        <p:nvSpPr>
          <p:cNvPr id="4" name="TextBox 3">
            <a:extLst>
              <a:ext uri="{FF2B5EF4-FFF2-40B4-BE49-F238E27FC236}">
                <a16:creationId xmlns:a16="http://schemas.microsoft.com/office/drawing/2014/main" id="{73380592-D770-11F5-8ACF-677BEEE521A6}"/>
              </a:ext>
            </a:extLst>
          </p:cNvPr>
          <p:cNvSpPr txBox="1"/>
          <p:nvPr/>
        </p:nvSpPr>
        <p:spPr>
          <a:xfrm>
            <a:off x="10520130" y="6457890"/>
            <a:ext cx="1671870" cy="400110"/>
          </a:xfrm>
          <a:prstGeom prst="rect">
            <a:avLst/>
          </a:prstGeom>
          <a:solidFill>
            <a:schemeClr val="accent6">
              <a:lumMod val="60000"/>
              <a:lumOff val="40000"/>
            </a:schemeClr>
          </a:solidFill>
        </p:spPr>
        <p:txBody>
          <a:bodyPr wrap="square" rtlCol="0">
            <a:spAutoFit/>
          </a:bodyPr>
          <a:lstStyle/>
          <a:p>
            <a:pPr algn="ctr"/>
            <a:r>
              <a:rPr lang="en-US" sz="2000">
                <a:latin typeface="Times New Roman" panose="02020603050405020304" pitchFamily="18" charset="0"/>
                <a:cs typeface="Times New Roman" panose="02020603050405020304" pitchFamily="18" charset="0"/>
              </a:rPr>
              <a:t>- Yash Jivani -</a:t>
            </a:r>
          </a:p>
        </p:txBody>
      </p:sp>
      <p:sp>
        <p:nvSpPr>
          <p:cNvPr id="7" name="Slide Number Placeholder 2">
            <a:extLst>
              <a:ext uri="{FF2B5EF4-FFF2-40B4-BE49-F238E27FC236}">
                <a16:creationId xmlns:a16="http://schemas.microsoft.com/office/drawing/2014/main" id="{D5AA6E15-8BA9-8AA7-804F-B5885CCACC63}"/>
              </a:ext>
            </a:extLst>
          </p:cNvPr>
          <p:cNvSpPr>
            <a:spLocks noGrp="1"/>
          </p:cNvSpPr>
          <p:nvPr>
            <p:ph type="sldNum" sz="quarter" idx="12"/>
          </p:nvPr>
        </p:nvSpPr>
        <p:spPr>
          <a:xfrm>
            <a:off x="8763000" y="6092765"/>
            <a:ext cx="2743200" cy="365125"/>
          </a:xfrm>
        </p:spPr>
        <p:txBody>
          <a:bodyPr/>
          <a:lstStyle/>
          <a:p>
            <a:fld id="{3ED678AB-02B0-41B4-AC9A-DED9BD329528}" type="slidenum">
              <a:rPr lang="en-US" smtClean="0"/>
              <a:t>4</a:t>
            </a:fld>
            <a:endParaRPr lang="en-US"/>
          </a:p>
        </p:txBody>
      </p:sp>
      <p:sp>
        <p:nvSpPr>
          <p:cNvPr id="8" name="TextBox 7">
            <a:extLst>
              <a:ext uri="{FF2B5EF4-FFF2-40B4-BE49-F238E27FC236}">
                <a16:creationId xmlns:a16="http://schemas.microsoft.com/office/drawing/2014/main" id="{3F693D28-CF9D-F66E-0A3B-291205C051D6}"/>
              </a:ext>
            </a:extLst>
          </p:cNvPr>
          <p:cNvSpPr txBox="1"/>
          <p:nvPr/>
        </p:nvSpPr>
        <p:spPr>
          <a:xfrm>
            <a:off x="10232327" y="2561696"/>
            <a:ext cx="1671870" cy="400110"/>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defPPr>
              <a:defRPr lang="en-US"/>
            </a:defPPr>
            <a:lvl1pPr algn="ctr">
              <a:defRPr sz="2000">
                <a:solidFill>
                  <a:schemeClr val="dk1"/>
                </a:solidFill>
                <a:latin typeface="Times New Roman" panose="02020603050405020304" pitchFamily="18" charset="0"/>
                <a:cs typeface="Times New Roman" panose="02020603050405020304" pitchFamily="18"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t>Numerical</a:t>
            </a:r>
          </a:p>
        </p:txBody>
      </p:sp>
    </p:spTree>
    <p:extLst>
      <p:ext uri="{BB962C8B-B14F-4D97-AF65-F5344CB8AC3E}">
        <p14:creationId xmlns:p14="http://schemas.microsoft.com/office/powerpoint/2010/main" val="26254906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4E264FB-C7E0-2BA4-5C0B-D52B2E35A88C}"/>
              </a:ext>
            </a:extLst>
          </p:cNvPr>
          <p:cNvGraphicFramePr>
            <a:graphicFrameLocks noChangeAspect="1"/>
          </p:cNvGraphicFramePr>
          <p:nvPr>
            <p:custDataLst>
              <p:tags r:id="rId1"/>
            </p:custDataLst>
            <p:extLst>
              <p:ext uri="{D42A27DB-BD31-4B8C-83A1-F6EECF244321}">
                <p14:modId xmlns:p14="http://schemas.microsoft.com/office/powerpoint/2010/main" val="1900823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8" progId="TCLayout.ActiveDocument.1">
                  <p:embed/>
                </p:oleObj>
              </mc:Choice>
              <mc:Fallback>
                <p:oleObj name="think-cell Slide" r:id="rId4" imgW="426" imgH="428" progId="TCLayout.ActiveDocument.1">
                  <p:embed/>
                  <p:pic>
                    <p:nvPicPr>
                      <p:cNvPr id="6" name="Object 5" hidden="1">
                        <a:extLst>
                          <a:ext uri="{FF2B5EF4-FFF2-40B4-BE49-F238E27FC236}">
                            <a16:creationId xmlns:a16="http://schemas.microsoft.com/office/drawing/2014/main" id="{74E264FB-C7E0-2BA4-5C0B-D52B2E35A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C19061FF-F243-CCA4-49A6-84E18DE9B532}"/>
              </a:ext>
            </a:extLst>
          </p:cNvPr>
          <p:cNvPicPr>
            <a:picLocks noChangeAspect="1"/>
          </p:cNvPicPr>
          <p:nvPr/>
        </p:nvPicPr>
        <p:blipFill>
          <a:blip r:embed="rId6"/>
          <a:stretch>
            <a:fillRect/>
          </a:stretch>
        </p:blipFill>
        <p:spPr>
          <a:xfrm>
            <a:off x="456778" y="826502"/>
            <a:ext cx="7670800" cy="5608533"/>
          </a:xfrm>
          <a:prstGeom prst="rect">
            <a:avLst/>
          </a:prstGeom>
          <a:ln>
            <a:solidFill>
              <a:schemeClr val="tx1"/>
            </a:solidFill>
          </a:ln>
        </p:spPr>
      </p:pic>
      <p:sp>
        <p:nvSpPr>
          <p:cNvPr id="9" name="TextBox 8">
            <a:extLst>
              <a:ext uri="{FF2B5EF4-FFF2-40B4-BE49-F238E27FC236}">
                <a16:creationId xmlns:a16="http://schemas.microsoft.com/office/drawing/2014/main" id="{D22FE04A-F69F-3EBC-73A3-5FB1EAF0FC81}"/>
              </a:ext>
            </a:extLst>
          </p:cNvPr>
          <p:cNvSpPr txBox="1"/>
          <p:nvPr/>
        </p:nvSpPr>
        <p:spPr>
          <a:xfrm>
            <a:off x="8509619" y="1684090"/>
            <a:ext cx="3263797" cy="2031325"/>
          </a:xfrm>
          <a:prstGeom prst="rect">
            <a:avLst/>
          </a:prstGeom>
          <a:noFill/>
        </p:spPr>
        <p:txBody>
          <a:bodyPr wrap="square" rtlCol="0">
            <a:spAutoFit/>
          </a:bodyPr>
          <a:lstStyle/>
          <a:p>
            <a:pPr marL="285750" indent="-285750" algn="just">
              <a:buFont typeface="Arial" panose="020B0604020202020204" pitchFamily="34" charset="0"/>
              <a:buChar char="•"/>
            </a:pPr>
            <a:r>
              <a:rPr lang="en-US">
                <a:latin typeface="Times New Roman" panose="02020603050405020304" pitchFamily="18" charset="0"/>
                <a:cs typeface="Times New Roman" panose="02020603050405020304" pitchFamily="18" charset="0"/>
              </a:rPr>
              <a:t>After normalizing, the bin of </a:t>
            </a:r>
            <a:r>
              <a:rPr lang="en-US" b="1">
                <a:latin typeface="Times New Roman" panose="02020603050405020304" pitchFamily="18" charset="0"/>
                <a:cs typeface="Times New Roman" panose="02020603050405020304" pitchFamily="18" charset="0"/>
              </a:rPr>
              <a:t>30-36 months </a:t>
            </a:r>
            <a:r>
              <a:rPr lang="en-US">
                <a:latin typeface="Times New Roman" panose="02020603050405020304" pitchFamily="18" charset="0"/>
                <a:cs typeface="Times New Roman" panose="02020603050405020304" pitchFamily="18" charset="0"/>
              </a:rPr>
              <a:t>(3 to 3-1/2 </a:t>
            </a:r>
            <a:r>
              <a:rPr lang="en-US" err="1">
                <a:latin typeface="Times New Roman" panose="02020603050405020304" pitchFamily="18" charset="0"/>
                <a:cs typeface="Times New Roman" panose="02020603050405020304" pitchFamily="18" charset="0"/>
              </a:rPr>
              <a:t>yrs</a:t>
            </a:r>
            <a:r>
              <a:rPr lang="en-US">
                <a:latin typeface="Times New Roman" panose="02020603050405020304" pitchFamily="18" charset="0"/>
                <a:cs typeface="Times New Roman" panose="02020603050405020304" pitchFamily="18" charset="0"/>
              </a:rPr>
              <a:t>), only </a:t>
            </a:r>
            <a:r>
              <a:rPr lang="en-US" b="1">
                <a:latin typeface="Times New Roman" panose="02020603050405020304" pitchFamily="18" charset="0"/>
                <a:cs typeface="Times New Roman" panose="02020603050405020304" pitchFamily="18" charset="0"/>
              </a:rPr>
              <a:t>14%</a:t>
            </a:r>
            <a:r>
              <a:rPr lang="en-US">
                <a:latin typeface="Times New Roman" panose="02020603050405020304" pitchFamily="18" charset="0"/>
                <a:cs typeface="Times New Roman" panose="02020603050405020304" pitchFamily="18" charset="0"/>
              </a:rPr>
              <a:t> of the customers in that period are churners.</a:t>
            </a:r>
          </a:p>
          <a:p>
            <a:pPr marL="285750" indent="-285750" algn="just">
              <a:buFont typeface="Arial" panose="020B0604020202020204" pitchFamily="34" charset="0"/>
              <a:buChar char="•"/>
            </a:pPr>
            <a:r>
              <a:rPr lang="en-US">
                <a:latin typeface="Times New Roman" panose="02020603050405020304" pitchFamily="18" charset="0"/>
                <a:cs typeface="Times New Roman" panose="02020603050405020304" pitchFamily="18" charset="0"/>
              </a:rPr>
              <a:t>Nearly around </a:t>
            </a:r>
            <a:r>
              <a:rPr lang="en-US" b="1">
                <a:latin typeface="Times New Roman" panose="02020603050405020304" pitchFamily="18" charset="0"/>
                <a:cs typeface="Times New Roman" panose="02020603050405020304" pitchFamily="18" charset="0"/>
              </a:rPr>
              <a:t>12%</a:t>
            </a:r>
            <a:r>
              <a:rPr lang="en-US">
                <a:latin typeface="Times New Roman" panose="02020603050405020304" pitchFamily="18" charset="0"/>
                <a:cs typeface="Times New Roman" panose="02020603050405020304" pitchFamily="18" charset="0"/>
              </a:rPr>
              <a:t> churners in </a:t>
            </a:r>
            <a:r>
              <a:rPr lang="en-US" b="1">
                <a:latin typeface="Times New Roman" panose="02020603050405020304" pitchFamily="18" charset="0"/>
                <a:cs typeface="Times New Roman" panose="02020603050405020304" pitchFamily="18" charset="0"/>
              </a:rPr>
              <a:t>each</a:t>
            </a:r>
            <a:r>
              <a:rPr lang="en-US">
                <a:latin typeface="Times New Roman" panose="02020603050405020304" pitchFamily="18" charset="0"/>
                <a:cs typeface="Times New Roman" panose="02020603050405020304" pitchFamily="18" charset="0"/>
              </a:rPr>
              <a:t> months’ bin.</a:t>
            </a:r>
          </a:p>
        </p:txBody>
      </p:sp>
      <p:pic>
        <p:nvPicPr>
          <p:cNvPr id="4" name="Picture 3">
            <a:extLst>
              <a:ext uri="{FF2B5EF4-FFF2-40B4-BE49-F238E27FC236}">
                <a16:creationId xmlns:a16="http://schemas.microsoft.com/office/drawing/2014/main" id="{0A1C9E01-366F-273F-4FBE-229715C948BD}"/>
              </a:ext>
            </a:extLst>
          </p:cNvPr>
          <p:cNvPicPr>
            <a:picLocks noChangeAspect="1"/>
          </p:cNvPicPr>
          <p:nvPr/>
        </p:nvPicPr>
        <p:blipFill rotWithShape="1">
          <a:blip r:embed="rId7"/>
          <a:srcRect b="4632"/>
          <a:stretch/>
        </p:blipFill>
        <p:spPr>
          <a:xfrm>
            <a:off x="8719933" y="4440353"/>
            <a:ext cx="3015289" cy="1264160"/>
          </a:xfrm>
          <a:prstGeom prst="rect">
            <a:avLst/>
          </a:prstGeom>
          <a:ln>
            <a:solidFill>
              <a:schemeClr val="tx1"/>
            </a:solidFill>
          </a:ln>
        </p:spPr>
      </p:pic>
      <p:sp>
        <p:nvSpPr>
          <p:cNvPr id="5" name="Title 1">
            <a:extLst>
              <a:ext uri="{FF2B5EF4-FFF2-40B4-BE49-F238E27FC236}">
                <a16:creationId xmlns:a16="http://schemas.microsoft.com/office/drawing/2014/main" id="{001CF14E-F3CB-630A-F67D-9E4093FF9E6A}"/>
              </a:ext>
            </a:extLst>
          </p:cNvPr>
          <p:cNvSpPr txBox="1">
            <a:spLocks/>
          </p:cNvSpPr>
          <p:nvPr/>
        </p:nvSpPr>
        <p:spPr>
          <a:xfrm>
            <a:off x="8423125" y="675937"/>
            <a:ext cx="3608903" cy="645684"/>
          </a:xfrm>
          <a:prstGeom prst="rect">
            <a:avLst/>
          </a:prstGeom>
          <a:solidFill>
            <a:schemeClr val="accent6">
              <a:lumMod val="60000"/>
              <a:lumOff val="40000"/>
            </a:schemeClr>
          </a:solidFill>
        </p:spPr>
        <p:style>
          <a:lnRef idx="1">
            <a:schemeClr val="accent6"/>
          </a:lnRef>
          <a:fillRef idx="2">
            <a:schemeClr val="accent6"/>
          </a:fillRef>
          <a:effectRef idx="1">
            <a:schemeClr val="accent6"/>
          </a:effectRef>
          <a:fontRef idx="minor">
            <a:schemeClr val="dk1"/>
          </a:fontRef>
        </p:style>
        <p:txBody>
          <a:bodyPr vert="horz" lIns="91440" tIns="45720" rIns="91440" bIns="45720" rtlCol="0" anchor="ctr">
            <a:normAutofit fontScale="92500" lnSpcReduction="10000"/>
          </a:bodyPr>
          <a:lstStyle>
            <a:lvl1pPr algn="ctr">
              <a:lnSpc>
                <a:spcPct val="90000"/>
              </a:lnSpc>
              <a:spcBef>
                <a:spcPct val="0"/>
              </a:spcBef>
              <a:buNone/>
              <a:defRPr sz="4400">
                <a:solidFill>
                  <a:schemeClr val="dk1"/>
                </a:solidFill>
                <a:effectLst/>
                <a:latin typeface="Times New Roman" panose="02020603050405020304" pitchFamily="18" charset="0"/>
                <a:ea typeface="Times New Roman" panose="02020603050405020304" pitchFamily="18"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t>Months on book</a:t>
            </a:r>
          </a:p>
        </p:txBody>
      </p:sp>
      <p:sp>
        <p:nvSpPr>
          <p:cNvPr id="2" name="TextBox 1">
            <a:extLst>
              <a:ext uri="{FF2B5EF4-FFF2-40B4-BE49-F238E27FC236}">
                <a16:creationId xmlns:a16="http://schemas.microsoft.com/office/drawing/2014/main" id="{F6A4513B-D8E4-3015-A0D7-77B7E961A046}"/>
              </a:ext>
            </a:extLst>
          </p:cNvPr>
          <p:cNvSpPr txBox="1"/>
          <p:nvPr/>
        </p:nvSpPr>
        <p:spPr>
          <a:xfrm>
            <a:off x="10520130" y="6457890"/>
            <a:ext cx="1671870" cy="400110"/>
          </a:xfrm>
          <a:prstGeom prst="rect">
            <a:avLst/>
          </a:prstGeom>
          <a:solidFill>
            <a:schemeClr val="accent6">
              <a:lumMod val="60000"/>
              <a:lumOff val="40000"/>
            </a:schemeClr>
          </a:solidFill>
        </p:spPr>
        <p:txBody>
          <a:bodyPr wrap="square" rtlCol="0">
            <a:spAutoFit/>
          </a:bodyPr>
          <a:lstStyle/>
          <a:p>
            <a:pPr algn="ctr"/>
            <a:r>
              <a:rPr lang="en-US" sz="2000">
                <a:latin typeface="Times New Roman" panose="02020603050405020304" pitchFamily="18" charset="0"/>
                <a:cs typeface="Times New Roman" panose="02020603050405020304" pitchFamily="18" charset="0"/>
              </a:rPr>
              <a:t>- Yash Jivani -</a:t>
            </a:r>
          </a:p>
        </p:txBody>
      </p:sp>
      <p:sp>
        <p:nvSpPr>
          <p:cNvPr id="10" name="Slide Number Placeholder 2">
            <a:extLst>
              <a:ext uri="{FF2B5EF4-FFF2-40B4-BE49-F238E27FC236}">
                <a16:creationId xmlns:a16="http://schemas.microsoft.com/office/drawing/2014/main" id="{97D3CF47-3CB1-BCA2-AD22-24ECBB8ED7E2}"/>
              </a:ext>
            </a:extLst>
          </p:cNvPr>
          <p:cNvSpPr>
            <a:spLocks noGrp="1"/>
          </p:cNvSpPr>
          <p:nvPr>
            <p:ph type="sldNum" sz="quarter" idx="12"/>
          </p:nvPr>
        </p:nvSpPr>
        <p:spPr>
          <a:xfrm>
            <a:off x="8763000" y="6092765"/>
            <a:ext cx="2743200" cy="365125"/>
          </a:xfrm>
        </p:spPr>
        <p:txBody>
          <a:bodyPr/>
          <a:lstStyle/>
          <a:p>
            <a:fld id="{3ED678AB-02B0-41B4-AC9A-DED9BD329528}" type="slidenum">
              <a:rPr lang="en-US" smtClean="0"/>
              <a:t>5</a:t>
            </a:fld>
            <a:endParaRPr lang="en-US"/>
          </a:p>
        </p:txBody>
      </p:sp>
    </p:spTree>
    <p:extLst>
      <p:ext uri="{BB962C8B-B14F-4D97-AF65-F5344CB8AC3E}">
        <p14:creationId xmlns:p14="http://schemas.microsoft.com/office/powerpoint/2010/main" val="38463868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4E264FB-C7E0-2BA4-5C0B-D52B2E35A88C}"/>
              </a:ext>
            </a:extLst>
          </p:cNvPr>
          <p:cNvGraphicFramePr>
            <a:graphicFrameLocks noChangeAspect="1"/>
          </p:cNvGraphicFramePr>
          <p:nvPr>
            <p:custDataLst>
              <p:tags r:id="rId1"/>
            </p:custDataLst>
            <p:extLst>
              <p:ext uri="{D42A27DB-BD31-4B8C-83A1-F6EECF244321}">
                <p14:modId xmlns:p14="http://schemas.microsoft.com/office/powerpoint/2010/main" val="2037122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8" progId="TCLayout.ActiveDocument.1">
                  <p:embed/>
                </p:oleObj>
              </mc:Choice>
              <mc:Fallback>
                <p:oleObj name="think-cell Slide" r:id="rId4" imgW="426" imgH="428" progId="TCLayout.ActiveDocument.1">
                  <p:embed/>
                  <p:pic>
                    <p:nvPicPr>
                      <p:cNvPr id="6" name="Object 5" hidden="1">
                        <a:extLst>
                          <a:ext uri="{FF2B5EF4-FFF2-40B4-BE49-F238E27FC236}">
                            <a16:creationId xmlns:a16="http://schemas.microsoft.com/office/drawing/2014/main" id="{74E264FB-C7E0-2BA4-5C0B-D52B2E35A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D22FE04A-F69F-3EBC-73A3-5FB1EAF0FC81}"/>
              </a:ext>
            </a:extLst>
          </p:cNvPr>
          <p:cNvSpPr txBox="1"/>
          <p:nvPr/>
        </p:nvSpPr>
        <p:spPr>
          <a:xfrm>
            <a:off x="8500880" y="2833246"/>
            <a:ext cx="3265443" cy="1938992"/>
          </a:xfrm>
          <a:prstGeom prst="rect">
            <a:avLst/>
          </a:prstGeom>
          <a:noFill/>
        </p:spPr>
        <p:txBody>
          <a:bodyPr wrap="square" rtlCol="0">
            <a:spAutoFit/>
          </a:bodyPr>
          <a:lstStyle/>
          <a:p>
            <a:pPr algn="just"/>
            <a:r>
              <a:rPr lang="en-US" sz="2400">
                <a:latin typeface="Times New Roman" panose="02020603050405020304" pitchFamily="18" charset="0"/>
                <a:cs typeface="Times New Roman" panose="02020603050405020304" pitchFamily="18" charset="0"/>
              </a:rPr>
              <a:t>After adding filters with Total Relationship Count - 1 &amp; 2, it is clear that customers churn who are almost same.</a:t>
            </a:r>
          </a:p>
        </p:txBody>
      </p:sp>
      <p:grpSp>
        <p:nvGrpSpPr>
          <p:cNvPr id="12" name="Group 11">
            <a:extLst>
              <a:ext uri="{FF2B5EF4-FFF2-40B4-BE49-F238E27FC236}">
                <a16:creationId xmlns:a16="http://schemas.microsoft.com/office/drawing/2014/main" id="{0E4E915F-FB7C-B569-2022-E3E043634AF0}"/>
              </a:ext>
            </a:extLst>
          </p:cNvPr>
          <p:cNvGrpSpPr/>
          <p:nvPr/>
        </p:nvGrpSpPr>
        <p:grpSpPr>
          <a:xfrm>
            <a:off x="527277" y="974666"/>
            <a:ext cx="7364724" cy="5483224"/>
            <a:chOff x="527277" y="974666"/>
            <a:chExt cx="7364724" cy="5483224"/>
          </a:xfrm>
        </p:grpSpPr>
        <p:pic>
          <p:nvPicPr>
            <p:cNvPr id="3" name="Picture 2">
              <a:extLst>
                <a:ext uri="{FF2B5EF4-FFF2-40B4-BE49-F238E27FC236}">
                  <a16:creationId xmlns:a16="http://schemas.microsoft.com/office/drawing/2014/main" id="{0C05026F-91DA-9E31-F946-39A784E7A83D}"/>
                </a:ext>
              </a:extLst>
            </p:cNvPr>
            <p:cNvPicPr>
              <a:picLocks noChangeAspect="1"/>
            </p:cNvPicPr>
            <p:nvPr/>
          </p:nvPicPr>
          <p:blipFill>
            <a:blip r:embed="rId6"/>
            <a:stretch>
              <a:fillRect/>
            </a:stretch>
          </p:blipFill>
          <p:spPr>
            <a:xfrm>
              <a:off x="527277" y="974666"/>
              <a:ext cx="7364723" cy="5483224"/>
            </a:xfrm>
            <a:prstGeom prst="rect">
              <a:avLst/>
            </a:prstGeom>
            <a:ln>
              <a:solidFill>
                <a:schemeClr val="tx1"/>
              </a:solidFill>
            </a:ln>
          </p:spPr>
        </p:pic>
        <p:pic>
          <p:nvPicPr>
            <p:cNvPr id="4" name="Picture 3">
              <a:extLst>
                <a:ext uri="{FF2B5EF4-FFF2-40B4-BE49-F238E27FC236}">
                  <a16:creationId xmlns:a16="http://schemas.microsoft.com/office/drawing/2014/main" id="{4F3116D9-2C6E-513D-40D1-6AD94793A9D9}"/>
                </a:ext>
              </a:extLst>
            </p:cNvPr>
            <p:cNvPicPr>
              <a:picLocks noChangeAspect="1"/>
            </p:cNvPicPr>
            <p:nvPr/>
          </p:nvPicPr>
          <p:blipFill rotWithShape="1">
            <a:blip r:embed="rId7"/>
            <a:srcRect b="4632"/>
            <a:stretch/>
          </p:blipFill>
          <p:spPr>
            <a:xfrm>
              <a:off x="5341359" y="5384800"/>
              <a:ext cx="2550642" cy="1069356"/>
            </a:xfrm>
            <a:prstGeom prst="rect">
              <a:avLst/>
            </a:prstGeom>
            <a:ln>
              <a:solidFill>
                <a:schemeClr val="tx1"/>
              </a:solidFill>
            </a:ln>
          </p:spPr>
        </p:pic>
      </p:grpSp>
      <p:sp>
        <p:nvSpPr>
          <p:cNvPr id="2" name="TextBox 1">
            <a:extLst>
              <a:ext uri="{FF2B5EF4-FFF2-40B4-BE49-F238E27FC236}">
                <a16:creationId xmlns:a16="http://schemas.microsoft.com/office/drawing/2014/main" id="{9782A366-42C2-147D-3394-DACD2FD3F8C0}"/>
              </a:ext>
            </a:extLst>
          </p:cNvPr>
          <p:cNvSpPr txBox="1"/>
          <p:nvPr/>
        </p:nvSpPr>
        <p:spPr>
          <a:xfrm>
            <a:off x="10520130" y="6457890"/>
            <a:ext cx="1671870" cy="400110"/>
          </a:xfrm>
          <a:prstGeom prst="rect">
            <a:avLst/>
          </a:prstGeom>
          <a:solidFill>
            <a:schemeClr val="accent6">
              <a:lumMod val="60000"/>
              <a:lumOff val="40000"/>
            </a:schemeClr>
          </a:solidFill>
        </p:spPr>
        <p:txBody>
          <a:bodyPr wrap="square" rtlCol="0">
            <a:spAutoFit/>
          </a:bodyPr>
          <a:lstStyle/>
          <a:p>
            <a:pPr algn="ctr"/>
            <a:r>
              <a:rPr lang="en-US" sz="2000">
                <a:latin typeface="Times New Roman" panose="02020603050405020304" pitchFamily="18" charset="0"/>
                <a:cs typeface="Times New Roman" panose="02020603050405020304" pitchFamily="18" charset="0"/>
              </a:rPr>
              <a:t>- Yash Jivani -</a:t>
            </a:r>
          </a:p>
        </p:txBody>
      </p:sp>
      <p:sp>
        <p:nvSpPr>
          <p:cNvPr id="7" name="Slide Number Placeholder 2">
            <a:extLst>
              <a:ext uri="{FF2B5EF4-FFF2-40B4-BE49-F238E27FC236}">
                <a16:creationId xmlns:a16="http://schemas.microsoft.com/office/drawing/2014/main" id="{187591FF-8657-73CC-DE6A-28096088116F}"/>
              </a:ext>
            </a:extLst>
          </p:cNvPr>
          <p:cNvSpPr>
            <a:spLocks noGrp="1"/>
          </p:cNvSpPr>
          <p:nvPr>
            <p:ph type="sldNum" sz="quarter" idx="12"/>
          </p:nvPr>
        </p:nvSpPr>
        <p:spPr>
          <a:xfrm>
            <a:off x="8763000" y="6092765"/>
            <a:ext cx="2743200" cy="365125"/>
          </a:xfrm>
        </p:spPr>
        <p:txBody>
          <a:bodyPr/>
          <a:lstStyle/>
          <a:p>
            <a:fld id="{3ED678AB-02B0-41B4-AC9A-DED9BD329528}" type="slidenum">
              <a:rPr lang="en-US" smtClean="0"/>
              <a:t>6</a:t>
            </a:fld>
            <a:endParaRPr lang="en-US"/>
          </a:p>
        </p:txBody>
      </p:sp>
      <p:sp>
        <p:nvSpPr>
          <p:cNvPr id="10" name="Title 1">
            <a:extLst>
              <a:ext uri="{FF2B5EF4-FFF2-40B4-BE49-F238E27FC236}">
                <a16:creationId xmlns:a16="http://schemas.microsoft.com/office/drawing/2014/main" id="{F31CAF74-D71D-6789-BE24-89953319BA62}"/>
              </a:ext>
            </a:extLst>
          </p:cNvPr>
          <p:cNvSpPr txBox="1">
            <a:spLocks/>
          </p:cNvSpPr>
          <p:nvPr/>
        </p:nvSpPr>
        <p:spPr>
          <a:xfrm>
            <a:off x="8251171" y="1822437"/>
            <a:ext cx="3608903" cy="645684"/>
          </a:xfrm>
          <a:prstGeom prst="rect">
            <a:avLst/>
          </a:prstGeom>
          <a:solidFill>
            <a:schemeClr val="accent6">
              <a:lumMod val="60000"/>
              <a:lumOff val="40000"/>
            </a:schemeClr>
          </a:solidFill>
        </p:spPr>
        <p:style>
          <a:lnRef idx="1">
            <a:schemeClr val="accent6"/>
          </a:lnRef>
          <a:fillRef idx="2">
            <a:schemeClr val="accent6"/>
          </a:fillRef>
          <a:effectRef idx="1">
            <a:schemeClr val="accent6"/>
          </a:effectRef>
          <a:fontRef idx="minor">
            <a:schemeClr val="dk1"/>
          </a:fontRef>
        </p:style>
        <p:txBody>
          <a:bodyPr vert="horz" lIns="91440" tIns="45720" rIns="91440" bIns="45720" rtlCol="0" anchor="ctr">
            <a:normAutofit fontScale="92500" lnSpcReduction="10000"/>
          </a:bodyPr>
          <a:lstStyle>
            <a:lvl1pPr algn="ctr">
              <a:lnSpc>
                <a:spcPct val="90000"/>
              </a:lnSpc>
              <a:spcBef>
                <a:spcPct val="0"/>
              </a:spcBef>
              <a:buNone/>
              <a:defRPr sz="4400">
                <a:solidFill>
                  <a:schemeClr val="dk1"/>
                </a:solidFill>
                <a:effectLst/>
                <a:latin typeface="Times New Roman" panose="02020603050405020304" pitchFamily="18" charset="0"/>
                <a:ea typeface="Times New Roman" panose="02020603050405020304" pitchFamily="18"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t>Months on book</a:t>
            </a:r>
          </a:p>
        </p:txBody>
      </p:sp>
    </p:spTree>
    <p:extLst>
      <p:ext uri="{BB962C8B-B14F-4D97-AF65-F5344CB8AC3E}">
        <p14:creationId xmlns:p14="http://schemas.microsoft.com/office/powerpoint/2010/main" val="37794663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F050D93-1130-27F0-D5DC-436A985C2694}"/>
              </a:ext>
            </a:extLst>
          </p:cNvPr>
          <p:cNvGraphicFramePr>
            <a:graphicFrameLocks noChangeAspect="1"/>
          </p:cNvGraphicFramePr>
          <p:nvPr>
            <p:custDataLst>
              <p:tags r:id="rId1"/>
            </p:custDataLst>
            <p:extLst>
              <p:ext uri="{D42A27DB-BD31-4B8C-83A1-F6EECF244321}">
                <p14:modId xmlns:p14="http://schemas.microsoft.com/office/powerpoint/2010/main" val="2827299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8" name="Object 7" hidden="1">
                        <a:extLst>
                          <a:ext uri="{FF2B5EF4-FFF2-40B4-BE49-F238E27FC236}">
                            <a16:creationId xmlns:a16="http://schemas.microsoft.com/office/drawing/2014/main" id="{3F050D93-1130-27F0-D5DC-436A985C26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D60B016D-6297-DF65-DB68-E6FB3F68973B}"/>
              </a:ext>
            </a:extLst>
          </p:cNvPr>
          <p:cNvSpPr txBox="1">
            <a:spLocks/>
          </p:cNvSpPr>
          <p:nvPr/>
        </p:nvSpPr>
        <p:spPr>
          <a:xfrm>
            <a:off x="3798957" y="194032"/>
            <a:ext cx="4673602" cy="1030515"/>
          </a:xfrm>
          <a:prstGeom prst="rect">
            <a:avLst/>
          </a:prstGeom>
          <a:solidFill>
            <a:schemeClr val="accent6">
              <a:lumMod val="60000"/>
              <a:lumOff val="40000"/>
            </a:schemeClr>
          </a:solidFill>
        </p:spPr>
        <p:style>
          <a:lnRef idx="1">
            <a:schemeClr val="accent6"/>
          </a:lnRef>
          <a:fillRef idx="2">
            <a:schemeClr val="accent6"/>
          </a:fillRef>
          <a:effectRef idx="1">
            <a:schemeClr val="accent6"/>
          </a:effectRef>
          <a:fontRef idx="minor">
            <a:schemeClr val="dk1"/>
          </a:fontRef>
        </p:style>
        <p:txBody>
          <a:bodyPr vert="horz" lIns="91440" tIns="45720" rIns="91440" bIns="45720" rtlCol="0" anchor="ctr">
            <a:normAutofit fontScale="55000" lnSpcReduction="20000"/>
          </a:bodyPr>
          <a:lstStyle>
            <a:defPPr>
              <a:defRPr lang="en-US"/>
            </a:defPPr>
            <a:lvl1pPr algn="ctr">
              <a:lnSpc>
                <a:spcPct val="90000"/>
              </a:lnSpc>
              <a:spcBef>
                <a:spcPct val="0"/>
              </a:spcBef>
              <a:buNone/>
              <a:defRPr sz="4400">
                <a:solidFill>
                  <a:schemeClr val="dk1"/>
                </a:solidFill>
                <a:effectLst/>
                <a:latin typeface="Times New Roman" panose="02020603050405020304" pitchFamily="18" charset="0"/>
                <a:ea typeface="Times New Roman" panose="02020603050405020304" pitchFamily="18"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sz="8700"/>
              <a:t>Months on book</a:t>
            </a:r>
            <a:endParaRPr lang="en-US"/>
          </a:p>
        </p:txBody>
      </p:sp>
      <p:sp>
        <p:nvSpPr>
          <p:cNvPr id="7" name="Content Placeholder 2">
            <a:extLst>
              <a:ext uri="{FF2B5EF4-FFF2-40B4-BE49-F238E27FC236}">
                <a16:creationId xmlns:a16="http://schemas.microsoft.com/office/drawing/2014/main" id="{1EC42C2F-0608-12FA-435B-BE385562E8A2}"/>
              </a:ext>
            </a:extLst>
          </p:cNvPr>
          <p:cNvSpPr txBox="1">
            <a:spLocks/>
          </p:cNvSpPr>
          <p:nvPr/>
        </p:nvSpPr>
        <p:spPr>
          <a:xfrm>
            <a:off x="2634790" y="6183328"/>
            <a:ext cx="7001935" cy="54912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a:latin typeface="Times New Roman" panose="02020603050405020304" pitchFamily="18" charset="0"/>
                <a:cs typeface="Times New Roman" panose="02020603050405020304" pitchFamily="18" charset="0"/>
              </a:rPr>
              <a:t>Either Male or Female, customer are churning at almost equal %</a:t>
            </a:r>
          </a:p>
        </p:txBody>
      </p:sp>
      <p:grpSp>
        <p:nvGrpSpPr>
          <p:cNvPr id="12" name="Group 11">
            <a:extLst>
              <a:ext uri="{FF2B5EF4-FFF2-40B4-BE49-F238E27FC236}">
                <a16:creationId xmlns:a16="http://schemas.microsoft.com/office/drawing/2014/main" id="{CC1F792E-A4EA-DE73-B9C7-FE13C834FCF1}"/>
              </a:ext>
            </a:extLst>
          </p:cNvPr>
          <p:cNvGrpSpPr/>
          <p:nvPr/>
        </p:nvGrpSpPr>
        <p:grpSpPr>
          <a:xfrm>
            <a:off x="6720987" y="1477588"/>
            <a:ext cx="4661379" cy="4615177"/>
            <a:chOff x="6636321" y="2061544"/>
            <a:chExt cx="4661379" cy="4615177"/>
          </a:xfrm>
        </p:grpSpPr>
        <p:pic>
          <p:nvPicPr>
            <p:cNvPr id="6" name="Picture 5">
              <a:extLst>
                <a:ext uri="{FF2B5EF4-FFF2-40B4-BE49-F238E27FC236}">
                  <a16:creationId xmlns:a16="http://schemas.microsoft.com/office/drawing/2014/main" id="{6DD13087-F6B0-3F89-8115-58FD40C27094}"/>
                </a:ext>
              </a:extLst>
            </p:cNvPr>
            <p:cNvPicPr>
              <a:picLocks noChangeAspect="1"/>
            </p:cNvPicPr>
            <p:nvPr/>
          </p:nvPicPr>
          <p:blipFill rotWithShape="1">
            <a:blip r:embed="rId5"/>
            <a:srcRect r="7079"/>
            <a:stretch/>
          </p:blipFill>
          <p:spPr>
            <a:xfrm>
              <a:off x="6636321" y="2061544"/>
              <a:ext cx="4661379" cy="4615177"/>
            </a:xfrm>
            <a:prstGeom prst="rect">
              <a:avLst/>
            </a:prstGeom>
            <a:ln>
              <a:solidFill>
                <a:schemeClr val="tx1"/>
              </a:solidFill>
            </a:ln>
          </p:spPr>
        </p:pic>
        <p:pic>
          <p:nvPicPr>
            <p:cNvPr id="9" name="Picture 8">
              <a:extLst>
                <a:ext uri="{FF2B5EF4-FFF2-40B4-BE49-F238E27FC236}">
                  <a16:creationId xmlns:a16="http://schemas.microsoft.com/office/drawing/2014/main" id="{0C40F904-835D-1494-D42E-9BFFDA2D55C2}"/>
                </a:ext>
              </a:extLst>
            </p:cNvPr>
            <p:cNvPicPr>
              <a:picLocks noChangeAspect="1"/>
            </p:cNvPicPr>
            <p:nvPr/>
          </p:nvPicPr>
          <p:blipFill>
            <a:blip r:embed="rId6"/>
            <a:stretch>
              <a:fillRect/>
            </a:stretch>
          </p:blipFill>
          <p:spPr>
            <a:xfrm>
              <a:off x="9517909" y="6003321"/>
              <a:ext cx="1774691" cy="673400"/>
            </a:xfrm>
            <a:prstGeom prst="rect">
              <a:avLst/>
            </a:prstGeom>
            <a:ln>
              <a:solidFill>
                <a:schemeClr val="tx1"/>
              </a:solidFill>
            </a:ln>
          </p:spPr>
        </p:pic>
      </p:grpSp>
      <p:grpSp>
        <p:nvGrpSpPr>
          <p:cNvPr id="13" name="Group 12">
            <a:extLst>
              <a:ext uri="{FF2B5EF4-FFF2-40B4-BE49-F238E27FC236}">
                <a16:creationId xmlns:a16="http://schemas.microsoft.com/office/drawing/2014/main" id="{8953B5E8-AD47-57F6-79BF-B8835498317E}"/>
              </a:ext>
            </a:extLst>
          </p:cNvPr>
          <p:cNvGrpSpPr/>
          <p:nvPr/>
        </p:nvGrpSpPr>
        <p:grpSpPr>
          <a:xfrm>
            <a:off x="984066" y="1477588"/>
            <a:ext cx="4733515" cy="4615177"/>
            <a:chOff x="899400" y="2061544"/>
            <a:chExt cx="4733515" cy="4615177"/>
          </a:xfrm>
        </p:grpSpPr>
        <p:pic>
          <p:nvPicPr>
            <p:cNvPr id="5" name="Picture 4">
              <a:extLst>
                <a:ext uri="{FF2B5EF4-FFF2-40B4-BE49-F238E27FC236}">
                  <a16:creationId xmlns:a16="http://schemas.microsoft.com/office/drawing/2014/main" id="{44F869AE-8987-CB73-297E-89AA3FB3D659}"/>
                </a:ext>
              </a:extLst>
            </p:cNvPr>
            <p:cNvPicPr>
              <a:picLocks noChangeAspect="1"/>
            </p:cNvPicPr>
            <p:nvPr/>
          </p:nvPicPr>
          <p:blipFill>
            <a:blip r:embed="rId7"/>
            <a:stretch>
              <a:fillRect/>
            </a:stretch>
          </p:blipFill>
          <p:spPr>
            <a:xfrm>
              <a:off x="899400" y="2061544"/>
              <a:ext cx="4733515" cy="4615177"/>
            </a:xfrm>
            <a:prstGeom prst="rect">
              <a:avLst/>
            </a:prstGeom>
            <a:ln>
              <a:solidFill>
                <a:schemeClr val="tx1"/>
              </a:solidFill>
            </a:ln>
          </p:spPr>
        </p:pic>
        <p:pic>
          <p:nvPicPr>
            <p:cNvPr id="10" name="Picture 9">
              <a:extLst>
                <a:ext uri="{FF2B5EF4-FFF2-40B4-BE49-F238E27FC236}">
                  <a16:creationId xmlns:a16="http://schemas.microsoft.com/office/drawing/2014/main" id="{FC3D20C0-97F0-AEB5-6F2A-C3C8E1688086}"/>
                </a:ext>
              </a:extLst>
            </p:cNvPr>
            <p:cNvPicPr>
              <a:picLocks noChangeAspect="1"/>
            </p:cNvPicPr>
            <p:nvPr/>
          </p:nvPicPr>
          <p:blipFill>
            <a:blip r:embed="rId6"/>
            <a:stretch>
              <a:fillRect/>
            </a:stretch>
          </p:blipFill>
          <p:spPr>
            <a:xfrm>
              <a:off x="3858224" y="6003321"/>
              <a:ext cx="1774691" cy="673400"/>
            </a:xfrm>
            <a:prstGeom prst="rect">
              <a:avLst/>
            </a:prstGeom>
            <a:ln>
              <a:solidFill>
                <a:schemeClr val="tx1"/>
              </a:solidFill>
            </a:ln>
          </p:spPr>
        </p:pic>
      </p:grpSp>
      <p:sp>
        <p:nvSpPr>
          <p:cNvPr id="14" name="TextBox 13">
            <a:extLst>
              <a:ext uri="{FF2B5EF4-FFF2-40B4-BE49-F238E27FC236}">
                <a16:creationId xmlns:a16="http://schemas.microsoft.com/office/drawing/2014/main" id="{21F21465-B52A-780F-9E13-585D6463DEE1}"/>
              </a:ext>
            </a:extLst>
          </p:cNvPr>
          <p:cNvSpPr txBox="1"/>
          <p:nvPr/>
        </p:nvSpPr>
        <p:spPr>
          <a:xfrm>
            <a:off x="10520130" y="6457890"/>
            <a:ext cx="1671870" cy="400110"/>
          </a:xfrm>
          <a:prstGeom prst="rect">
            <a:avLst/>
          </a:prstGeom>
          <a:solidFill>
            <a:schemeClr val="accent6">
              <a:lumMod val="60000"/>
              <a:lumOff val="40000"/>
            </a:schemeClr>
          </a:solidFill>
        </p:spPr>
        <p:txBody>
          <a:bodyPr wrap="square" rtlCol="0">
            <a:spAutoFit/>
          </a:bodyPr>
          <a:lstStyle/>
          <a:p>
            <a:pPr algn="ctr"/>
            <a:r>
              <a:rPr lang="en-US" sz="2000">
                <a:latin typeface="Times New Roman" panose="02020603050405020304" pitchFamily="18" charset="0"/>
                <a:cs typeface="Times New Roman" panose="02020603050405020304" pitchFamily="18" charset="0"/>
              </a:rPr>
              <a:t>- Yash Jivani -</a:t>
            </a:r>
          </a:p>
        </p:txBody>
      </p:sp>
      <p:sp>
        <p:nvSpPr>
          <p:cNvPr id="18" name="Slide Number Placeholder 2">
            <a:extLst>
              <a:ext uri="{FF2B5EF4-FFF2-40B4-BE49-F238E27FC236}">
                <a16:creationId xmlns:a16="http://schemas.microsoft.com/office/drawing/2014/main" id="{BE706919-F72C-520C-5575-11B7AC1022C8}"/>
              </a:ext>
            </a:extLst>
          </p:cNvPr>
          <p:cNvSpPr>
            <a:spLocks noGrp="1"/>
          </p:cNvSpPr>
          <p:nvPr>
            <p:ph type="sldNum" sz="quarter" idx="12"/>
          </p:nvPr>
        </p:nvSpPr>
        <p:spPr>
          <a:xfrm>
            <a:off x="8763000" y="6092765"/>
            <a:ext cx="2743200" cy="365125"/>
          </a:xfrm>
        </p:spPr>
        <p:txBody>
          <a:bodyPr/>
          <a:lstStyle/>
          <a:p>
            <a:fld id="{3ED678AB-02B0-41B4-AC9A-DED9BD329528}" type="slidenum">
              <a:rPr lang="en-US" smtClean="0"/>
              <a:t>7</a:t>
            </a:fld>
            <a:endParaRPr lang="en-US"/>
          </a:p>
        </p:txBody>
      </p:sp>
    </p:spTree>
    <p:extLst>
      <p:ext uri="{BB962C8B-B14F-4D97-AF65-F5344CB8AC3E}">
        <p14:creationId xmlns:p14="http://schemas.microsoft.com/office/powerpoint/2010/main" val="12422897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A80027D-1C07-3C83-3D12-C30A4EE13838}"/>
              </a:ext>
            </a:extLst>
          </p:cNvPr>
          <p:cNvGraphicFramePr>
            <a:graphicFrameLocks noChangeAspect="1"/>
          </p:cNvGraphicFramePr>
          <p:nvPr>
            <p:custDataLst>
              <p:tags r:id="rId1"/>
            </p:custDataLst>
            <p:extLst>
              <p:ext uri="{D42A27DB-BD31-4B8C-83A1-F6EECF244321}">
                <p14:modId xmlns:p14="http://schemas.microsoft.com/office/powerpoint/2010/main" val="2154176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8" name="Object 7" hidden="1">
                        <a:extLst>
                          <a:ext uri="{FF2B5EF4-FFF2-40B4-BE49-F238E27FC236}">
                            <a16:creationId xmlns:a16="http://schemas.microsoft.com/office/drawing/2014/main" id="{5A80027D-1C07-3C83-3D12-C30A4EE138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2C0C3AAE-8DED-1E39-8A06-ADBAE229A450}"/>
              </a:ext>
            </a:extLst>
          </p:cNvPr>
          <p:cNvSpPr>
            <a:spLocks noGrp="1"/>
          </p:cNvSpPr>
          <p:nvPr>
            <p:ph idx="1"/>
          </p:nvPr>
        </p:nvSpPr>
        <p:spPr>
          <a:xfrm>
            <a:off x="560323" y="4093185"/>
            <a:ext cx="3667037" cy="838200"/>
          </a:xfrm>
        </p:spPr>
        <p:txBody>
          <a:bodyPr>
            <a:normAutofit fontScale="92500"/>
          </a:bodyPr>
          <a:lstStyle/>
          <a:p>
            <a:pPr marL="0" indent="0">
              <a:buNone/>
            </a:pPr>
            <a:r>
              <a:rPr lang="en-US" sz="2400">
                <a:latin typeface="Times New Roman" panose="02020603050405020304" pitchFamily="18" charset="0"/>
                <a:cs typeface="Times New Roman" panose="02020603050405020304" pitchFamily="18" charset="0"/>
              </a:rPr>
              <a:t>Around </a:t>
            </a:r>
            <a:r>
              <a:rPr lang="en-US" sz="2400" b="1">
                <a:latin typeface="Times New Roman" panose="02020603050405020304" pitchFamily="18" charset="0"/>
                <a:cs typeface="Times New Roman" panose="02020603050405020304" pitchFamily="18" charset="0"/>
              </a:rPr>
              <a:t>95%</a:t>
            </a:r>
            <a:r>
              <a:rPr lang="en-US" sz="2400">
                <a:latin typeface="Times New Roman" panose="02020603050405020304" pitchFamily="18" charset="0"/>
                <a:cs typeface="Times New Roman" panose="02020603050405020304" pitchFamily="18" charset="0"/>
              </a:rPr>
              <a:t> customers use products/services more than 2</a:t>
            </a:r>
            <a:endParaRPr lang="en-US" sz="2400" b="1">
              <a:latin typeface="Times New Roman" panose="02020603050405020304" pitchFamily="18" charset="0"/>
              <a:cs typeface="Times New Roman" panose="02020603050405020304" pitchFamily="18" charset="0"/>
            </a:endParaRPr>
          </a:p>
          <a:p>
            <a:endParaRPr lang="en-US" sz="2400"/>
          </a:p>
        </p:txBody>
      </p:sp>
      <p:pic>
        <p:nvPicPr>
          <p:cNvPr id="5" name="Picture 4" descr="Chart, bar chart&#10;&#10;Description automatically generated">
            <a:extLst>
              <a:ext uri="{FF2B5EF4-FFF2-40B4-BE49-F238E27FC236}">
                <a16:creationId xmlns:a16="http://schemas.microsoft.com/office/drawing/2014/main" id="{2D26B56E-A25F-ECFD-828A-7876E0931C54}"/>
              </a:ext>
            </a:extLst>
          </p:cNvPr>
          <p:cNvPicPr>
            <a:picLocks noChangeAspect="1"/>
          </p:cNvPicPr>
          <p:nvPr/>
        </p:nvPicPr>
        <p:blipFill rotWithShape="1">
          <a:blip r:embed="rId5">
            <a:extLst>
              <a:ext uri="{28A0092B-C50C-407E-A947-70E740481C1C}">
                <a14:useLocalDpi xmlns:a14="http://schemas.microsoft.com/office/drawing/2010/main" val="0"/>
              </a:ext>
            </a:extLst>
          </a:blip>
          <a:srcRect r="6692"/>
          <a:stretch/>
        </p:blipFill>
        <p:spPr>
          <a:xfrm>
            <a:off x="4626740" y="482998"/>
            <a:ext cx="6916329" cy="5577837"/>
          </a:xfrm>
          <a:prstGeom prst="rect">
            <a:avLst/>
          </a:prstGeom>
          <a:ln>
            <a:solidFill>
              <a:schemeClr val="tx1"/>
            </a:solidFill>
          </a:ln>
          <a:effectLst/>
        </p:spPr>
      </p:pic>
      <p:sp>
        <p:nvSpPr>
          <p:cNvPr id="9" name="TextBox 8">
            <a:extLst>
              <a:ext uri="{FF2B5EF4-FFF2-40B4-BE49-F238E27FC236}">
                <a16:creationId xmlns:a16="http://schemas.microsoft.com/office/drawing/2014/main" id="{04BFBA02-62FD-2E57-35F6-9E2887271A24}"/>
              </a:ext>
            </a:extLst>
          </p:cNvPr>
          <p:cNvSpPr txBox="1"/>
          <p:nvPr/>
        </p:nvSpPr>
        <p:spPr>
          <a:xfrm>
            <a:off x="10520130" y="6457890"/>
            <a:ext cx="1671870" cy="400110"/>
          </a:xfrm>
          <a:prstGeom prst="rect">
            <a:avLst/>
          </a:prstGeom>
          <a:solidFill>
            <a:schemeClr val="accent6">
              <a:lumMod val="60000"/>
              <a:lumOff val="40000"/>
            </a:schemeClr>
          </a:solidFill>
        </p:spPr>
        <p:txBody>
          <a:bodyPr wrap="square" rtlCol="0">
            <a:spAutoFit/>
          </a:bodyPr>
          <a:lstStyle/>
          <a:p>
            <a:pPr algn="ctr"/>
            <a:r>
              <a:rPr lang="en-US" sz="2000">
                <a:latin typeface="Times New Roman" panose="02020603050405020304" pitchFamily="18" charset="0"/>
                <a:cs typeface="Times New Roman" panose="02020603050405020304" pitchFamily="18" charset="0"/>
              </a:rPr>
              <a:t>- Yash Jivani -</a:t>
            </a:r>
          </a:p>
        </p:txBody>
      </p:sp>
      <p:sp>
        <p:nvSpPr>
          <p:cNvPr id="10" name="Slide Number Placeholder 2">
            <a:extLst>
              <a:ext uri="{FF2B5EF4-FFF2-40B4-BE49-F238E27FC236}">
                <a16:creationId xmlns:a16="http://schemas.microsoft.com/office/drawing/2014/main" id="{0658A469-2D17-6603-BD07-3FA42D436952}"/>
              </a:ext>
            </a:extLst>
          </p:cNvPr>
          <p:cNvSpPr txBox="1">
            <a:spLocks/>
          </p:cNvSpPr>
          <p:nvPr/>
        </p:nvSpPr>
        <p:spPr>
          <a:xfrm>
            <a:off x="8763000" y="6092765"/>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ED678AB-02B0-41B4-AC9A-DED9BD329528}" type="slidenum">
              <a:rPr lang="en-US" smtClean="0"/>
              <a:pPr/>
              <a:t>8</a:t>
            </a:fld>
            <a:endParaRPr lang="en-US"/>
          </a:p>
        </p:txBody>
      </p:sp>
      <p:sp>
        <p:nvSpPr>
          <p:cNvPr id="11" name="Title 1">
            <a:extLst>
              <a:ext uri="{FF2B5EF4-FFF2-40B4-BE49-F238E27FC236}">
                <a16:creationId xmlns:a16="http://schemas.microsoft.com/office/drawing/2014/main" id="{E5C3F422-125B-C05A-43F3-5F9CCE4196E2}"/>
              </a:ext>
            </a:extLst>
          </p:cNvPr>
          <p:cNvSpPr txBox="1">
            <a:spLocks/>
          </p:cNvSpPr>
          <p:nvPr/>
        </p:nvSpPr>
        <p:spPr>
          <a:xfrm>
            <a:off x="471716" y="1597691"/>
            <a:ext cx="3844252" cy="1731317"/>
          </a:xfrm>
          <a:prstGeom prst="rect">
            <a:avLst/>
          </a:prstGeom>
          <a:solidFill>
            <a:schemeClr val="accent6">
              <a:lumMod val="60000"/>
              <a:lumOff val="40000"/>
            </a:schemeClr>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600">
                <a:latin typeface="Times New Roman" panose="02020603050405020304" pitchFamily="18" charset="0"/>
                <a:ea typeface="Times New Roman" panose="02020603050405020304" pitchFamily="18" charset="0"/>
              </a:rPr>
              <a:t>Total Relationship Count</a:t>
            </a:r>
          </a:p>
          <a:p>
            <a:pPr algn="ct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No. of </a:t>
            </a:r>
            <a:r>
              <a:rPr lang="en-US" sz="1800">
                <a:solidFill>
                  <a:prstClr val="black"/>
                </a:solidFill>
                <a:latin typeface="Calibri" panose="020F0502020204030204"/>
                <a:ea typeface="+mn-ea"/>
                <a:cs typeface="+mn-cs"/>
              </a:rPr>
              <a:t>products/services the customer/s is/are using)</a:t>
            </a:r>
            <a:endParaRPr lang="en-US" sz="6000">
              <a:latin typeface="Times New Roman" panose="02020603050405020304" pitchFamily="18" charset="0"/>
              <a:ea typeface="Times New Roman" panose="02020603050405020304" pitchFamily="18" charset="0"/>
            </a:endParaRPr>
          </a:p>
        </p:txBody>
      </p:sp>
      <p:sp>
        <p:nvSpPr>
          <p:cNvPr id="12" name="TextBox 11">
            <a:extLst>
              <a:ext uri="{FF2B5EF4-FFF2-40B4-BE49-F238E27FC236}">
                <a16:creationId xmlns:a16="http://schemas.microsoft.com/office/drawing/2014/main" id="{114DEAC3-B7DA-2ECD-A920-359F5E04850B}"/>
              </a:ext>
            </a:extLst>
          </p:cNvPr>
          <p:cNvSpPr txBox="1"/>
          <p:nvPr/>
        </p:nvSpPr>
        <p:spPr>
          <a:xfrm>
            <a:off x="471716" y="3329008"/>
            <a:ext cx="2336798" cy="400110"/>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en-US" sz="2000">
                <a:latin typeface="Times New Roman" panose="02020603050405020304" pitchFamily="18" charset="0"/>
                <a:cs typeface="Times New Roman" panose="02020603050405020304" pitchFamily="18" charset="0"/>
              </a:rPr>
              <a:t>Discrete Categorical</a:t>
            </a:r>
          </a:p>
        </p:txBody>
      </p:sp>
    </p:spTree>
    <p:extLst>
      <p:ext uri="{BB962C8B-B14F-4D97-AF65-F5344CB8AC3E}">
        <p14:creationId xmlns:p14="http://schemas.microsoft.com/office/powerpoint/2010/main" val="33162313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5B8F2-6E4D-EB2F-5013-86B0F191208B}"/>
              </a:ext>
            </a:extLst>
          </p:cNvPr>
          <p:cNvGraphicFramePr>
            <a:graphicFrameLocks noChangeAspect="1"/>
          </p:cNvGraphicFramePr>
          <p:nvPr>
            <p:custDataLst>
              <p:tags r:id="rId1"/>
            </p:custDataLst>
            <p:extLst>
              <p:ext uri="{D42A27DB-BD31-4B8C-83A1-F6EECF244321}">
                <p14:modId xmlns:p14="http://schemas.microsoft.com/office/powerpoint/2010/main" val="1475965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5" name="Object 4" hidden="1">
                        <a:extLst>
                          <a:ext uri="{FF2B5EF4-FFF2-40B4-BE49-F238E27FC236}">
                            <a16:creationId xmlns:a16="http://schemas.microsoft.com/office/drawing/2014/main" id="{3055B8F2-6E4D-EB2F-5013-86B0F19120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4D8D1BEB-FCBB-A15E-A95E-AC74601CBD60}"/>
              </a:ext>
            </a:extLst>
          </p:cNvPr>
          <p:cNvSpPr>
            <a:spLocks noGrp="1"/>
          </p:cNvSpPr>
          <p:nvPr>
            <p:ph type="sldNum" sz="quarter" idx="12"/>
          </p:nvPr>
        </p:nvSpPr>
        <p:spPr/>
        <p:txBody>
          <a:bodyPr/>
          <a:lstStyle/>
          <a:p>
            <a:fld id="{3ED678AB-02B0-41B4-AC9A-DED9BD329528}" type="slidenum">
              <a:rPr lang="en-US" smtClean="0"/>
              <a:t>9</a:t>
            </a:fld>
            <a:endParaRPr lang="en-US"/>
          </a:p>
        </p:txBody>
      </p:sp>
      <p:pic>
        <p:nvPicPr>
          <p:cNvPr id="6" name="Picture 5" descr="Chart, bar chart&#10;&#10;Description automatically generated">
            <a:extLst>
              <a:ext uri="{FF2B5EF4-FFF2-40B4-BE49-F238E27FC236}">
                <a16:creationId xmlns:a16="http://schemas.microsoft.com/office/drawing/2014/main" id="{E7FA203F-DCA7-7717-7A7B-7994BCDEA93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69004" y="1237618"/>
            <a:ext cx="4047066" cy="4944407"/>
          </a:xfrm>
          <a:prstGeom prst="rect">
            <a:avLst/>
          </a:prstGeom>
          <a:ln>
            <a:solidFill>
              <a:schemeClr val="tx1"/>
            </a:solidFill>
          </a:ln>
        </p:spPr>
      </p:pic>
      <p:pic>
        <p:nvPicPr>
          <p:cNvPr id="7" name="Picture 6" descr="Chart, bar chart&#10;&#10;Description automatically generated">
            <a:extLst>
              <a:ext uri="{FF2B5EF4-FFF2-40B4-BE49-F238E27FC236}">
                <a16:creationId xmlns:a16="http://schemas.microsoft.com/office/drawing/2014/main" id="{0883C663-EFEA-1256-EF5F-51481075BE9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15803" y="1222861"/>
            <a:ext cx="4047066" cy="4959165"/>
          </a:xfrm>
          <a:prstGeom prst="rect">
            <a:avLst/>
          </a:prstGeom>
          <a:ln>
            <a:solidFill>
              <a:schemeClr val="tx1"/>
            </a:solidFill>
          </a:ln>
        </p:spPr>
      </p:pic>
      <p:sp>
        <p:nvSpPr>
          <p:cNvPr id="8" name="TextBox 7">
            <a:extLst>
              <a:ext uri="{FF2B5EF4-FFF2-40B4-BE49-F238E27FC236}">
                <a16:creationId xmlns:a16="http://schemas.microsoft.com/office/drawing/2014/main" id="{76D9DC03-195C-E251-FA5E-D284D5D84BBC}"/>
              </a:ext>
            </a:extLst>
          </p:cNvPr>
          <p:cNvSpPr txBox="1"/>
          <p:nvPr/>
        </p:nvSpPr>
        <p:spPr>
          <a:xfrm>
            <a:off x="10520130" y="6457890"/>
            <a:ext cx="1671870" cy="400110"/>
          </a:xfrm>
          <a:prstGeom prst="rect">
            <a:avLst/>
          </a:prstGeom>
          <a:solidFill>
            <a:schemeClr val="accent6">
              <a:lumMod val="60000"/>
              <a:lumOff val="40000"/>
            </a:schemeClr>
          </a:solidFill>
        </p:spPr>
        <p:txBody>
          <a:bodyPr wrap="square" rtlCol="0">
            <a:spAutoFit/>
          </a:bodyPr>
          <a:lstStyle/>
          <a:p>
            <a:pPr algn="ctr"/>
            <a:r>
              <a:rPr lang="en-US" sz="2000">
                <a:latin typeface="Times New Roman" panose="02020603050405020304" pitchFamily="18" charset="0"/>
                <a:cs typeface="Times New Roman" panose="02020603050405020304" pitchFamily="18" charset="0"/>
              </a:rPr>
              <a:t>- Yash Jivani -</a:t>
            </a:r>
          </a:p>
        </p:txBody>
      </p:sp>
      <p:sp>
        <p:nvSpPr>
          <p:cNvPr id="9" name="Slide Number Placeholder 2">
            <a:extLst>
              <a:ext uri="{FF2B5EF4-FFF2-40B4-BE49-F238E27FC236}">
                <a16:creationId xmlns:a16="http://schemas.microsoft.com/office/drawing/2014/main" id="{E77254D0-2C57-90A7-506B-A1CD87E402AF}"/>
              </a:ext>
            </a:extLst>
          </p:cNvPr>
          <p:cNvSpPr txBox="1">
            <a:spLocks/>
          </p:cNvSpPr>
          <p:nvPr/>
        </p:nvSpPr>
        <p:spPr>
          <a:xfrm>
            <a:off x="8763000" y="6092765"/>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ED678AB-02B0-41B4-AC9A-DED9BD329528}" type="slidenum">
              <a:rPr lang="en-US" smtClean="0"/>
              <a:pPr/>
              <a:t>9</a:t>
            </a:fld>
            <a:endParaRPr lang="en-US"/>
          </a:p>
        </p:txBody>
      </p:sp>
      <p:sp>
        <p:nvSpPr>
          <p:cNvPr id="10" name="Title 1">
            <a:extLst>
              <a:ext uri="{FF2B5EF4-FFF2-40B4-BE49-F238E27FC236}">
                <a16:creationId xmlns:a16="http://schemas.microsoft.com/office/drawing/2014/main" id="{D313200F-A53D-F82A-2013-66790EDFB6C6}"/>
              </a:ext>
            </a:extLst>
          </p:cNvPr>
          <p:cNvSpPr txBox="1">
            <a:spLocks/>
          </p:cNvSpPr>
          <p:nvPr/>
        </p:nvSpPr>
        <p:spPr>
          <a:xfrm>
            <a:off x="3759199" y="92432"/>
            <a:ext cx="4673602" cy="1030515"/>
          </a:xfrm>
          <a:prstGeom prst="rect">
            <a:avLst/>
          </a:prstGeom>
          <a:solidFill>
            <a:schemeClr val="accent6">
              <a:lumMod val="60000"/>
              <a:lumOff val="40000"/>
            </a:schemeClr>
          </a:solidFill>
        </p:spPr>
        <p:style>
          <a:lnRef idx="1">
            <a:schemeClr val="accent6"/>
          </a:lnRef>
          <a:fillRef idx="2">
            <a:schemeClr val="accent6"/>
          </a:fillRef>
          <a:effectRef idx="1">
            <a:schemeClr val="accent6"/>
          </a:effectRef>
          <a:fontRef idx="minor">
            <a:schemeClr val="dk1"/>
          </a:fontRef>
        </p:style>
        <p:txBody>
          <a:bodyPr vert="horz" lIns="91440" tIns="45720" rIns="91440" bIns="45720" rtlCol="0" anchor="ctr">
            <a:normAutofit/>
          </a:bodyPr>
          <a:lstStyle>
            <a:defPPr>
              <a:defRPr lang="en-US"/>
            </a:defPPr>
            <a:lvl1pPr algn="ctr">
              <a:lnSpc>
                <a:spcPct val="90000"/>
              </a:lnSpc>
              <a:spcBef>
                <a:spcPct val="0"/>
              </a:spcBef>
              <a:buNone/>
              <a:defRPr sz="4400">
                <a:solidFill>
                  <a:schemeClr val="dk1"/>
                </a:solidFill>
                <a:effectLst/>
                <a:latin typeface="Times New Roman" panose="02020603050405020304" pitchFamily="18" charset="0"/>
                <a:ea typeface="Times New Roman" panose="02020603050405020304" pitchFamily="18"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ctr"/>
            <a:r>
              <a:rPr lang="en-US" sz="3200">
                <a:latin typeface="Times New Roman" panose="02020603050405020304" pitchFamily="18" charset="0"/>
                <a:ea typeface="Times New Roman" panose="02020603050405020304" pitchFamily="18" charset="0"/>
              </a:rPr>
              <a:t>Total Relationship Count</a:t>
            </a:r>
          </a:p>
        </p:txBody>
      </p:sp>
      <p:sp>
        <p:nvSpPr>
          <p:cNvPr id="11" name="Content Placeholder 2">
            <a:extLst>
              <a:ext uri="{FF2B5EF4-FFF2-40B4-BE49-F238E27FC236}">
                <a16:creationId xmlns:a16="http://schemas.microsoft.com/office/drawing/2014/main" id="{D2CE1B86-9DF8-D023-A53B-05D201E034FC}"/>
              </a:ext>
            </a:extLst>
          </p:cNvPr>
          <p:cNvSpPr txBox="1">
            <a:spLocks/>
          </p:cNvSpPr>
          <p:nvPr/>
        </p:nvSpPr>
        <p:spPr>
          <a:xfrm>
            <a:off x="2904895" y="6264350"/>
            <a:ext cx="6382210" cy="54912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a:latin typeface="Times New Roman" panose="02020603050405020304" pitchFamily="18" charset="0"/>
                <a:cs typeface="Times New Roman" panose="02020603050405020304" pitchFamily="18" charset="0"/>
              </a:rPr>
              <a:t>Customers using products/services count-1 or 2 are churning</a:t>
            </a:r>
          </a:p>
        </p:txBody>
      </p:sp>
    </p:spTree>
    <p:extLst>
      <p:ext uri="{BB962C8B-B14F-4D97-AF65-F5344CB8AC3E}">
        <p14:creationId xmlns:p14="http://schemas.microsoft.com/office/powerpoint/2010/main" val="36189445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reen Yellow">
      <a:dk1>
        <a:sysClr val="windowText" lastClr="000000"/>
      </a:dk1>
      <a:lt1>
        <a:sysClr val="window" lastClr="FFFFFF"/>
      </a:lt1>
      <a:dk2>
        <a:srgbClr val="455F51"/>
      </a:dk2>
      <a:lt2>
        <a:srgbClr val="E2DFCC"/>
      </a:lt2>
      <a:accent1>
        <a:srgbClr val="99CB38"/>
      </a:accent1>
      <a:accent2>
        <a:srgbClr val="63A537"/>
      </a:accent2>
      <a:accent3>
        <a:srgbClr val="37A76F"/>
      </a:accent3>
      <a:accent4>
        <a:srgbClr val="44C1A3"/>
      </a:accent4>
      <a:accent5>
        <a:srgbClr val="4EB3CF"/>
      </a:accent5>
      <a:accent6>
        <a:srgbClr val="51C3F9"/>
      </a:accent6>
      <a:hlink>
        <a:srgbClr val="EE7B08"/>
      </a:hlink>
      <a:folHlink>
        <a:srgbClr val="977B2D"/>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2.xml><?xml version="1.0" encoding="utf-8"?>
<a:theme xmlns:a="http://schemas.openxmlformats.org/drawingml/2006/main" name="1_Office Theme">
  <a:themeElements>
    <a:clrScheme name="Green Yellow">
      <a:dk1>
        <a:sysClr val="windowText" lastClr="000000"/>
      </a:dk1>
      <a:lt1>
        <a:sysClr val="window" lastClr="FFFFFF"/>
      </a:lt1>
      <a:dk2>
        <a:srgbClr val="455F51"/>
      </a:dk2>
      <a:lt2>
        <a:srgbClr val="E2DFCC"/>
      </a:lt2>
      <a:accent1>
        <a:srgbClr val="99CB38"/>
      </a:accent1>
      <a:accent2>
        <a:srgbClr val="63A537"/>
      </a:accent2>
      <a:accent3>
        <a:srgbClr val="37A76F"/>
      </a:accent3>
      <a:accent4>
        <a:srgbClr val="44C1A3"/>
      </a:accent4>
      <a:accent5>
        <a:srgbClr val="4EB3CF"/>
      </a:accent5>
      <a:accent6>
        <a:srgbClr val="51C3F9"/>
      </a:accent6>
      <a:hlink>
        <a:srgbClr val="EE7B08"/>
      </a:hlink>
      <a:folHlink>
        <a:srgbClr val="977B2D"/>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3.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 2013 - 2022</Template>
  <TotalTime>0</TotalTime>
  <Words>795</Words>
  <Application>Microsoft Office PowerPoint</Application>
  <PresentationFormat>Widescreen</PresentationFormat>
  <Paragraphs>92</Paragraphs>
  <Slides>15</Slides>
  <Notes>9</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15</vt:i4>
      </vt:variant>
    </vt:vector>
  </HeadingPairs>
  <TitlesOfParts>
    <vt:vector size="25" baseType="lpstr">
      <vt:lpstr>Arial</vt:lpstr>
      <vt:lpstr>Calibri</vt:lpstr>
      <vt:lpstr>Calibri Light</vt:lpstr>
      <vt:lpstr>Cambria Math</vt:lpstr>
      <vt:lpstr>Merriweather</vt:lpstr>
      <vt:lpstr>Times New Roman</vt:lpstr>
      <vt:lpstr>Office Theme</vt:lpstr>
      <vt:lpstr>1_Office Theme</vt:lpstr>
      <vt:lpstr>2_Office Theme</vt:lpstr>
      <vt:lpstr>think-cell Slide</vt:lpstr>
      <vt:lpstr>EDA Problem Statement</vt:lpstr>
      <vt:lpstr> Goals of EDA</vt:lpstr>
      <vt:lpstr>Attrition Cou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hase 1</dc:title>
  <dc:creator>Jivani, Yash</dc:creator>
  <cp:lastModifiedBy>Jivani, Yash</cp:lastModifiedBy>
  <cp:revision>1</cp:revision>
  <dcterms:created xsi:type="dcterms:W3CDTF">2023-02-16T01:07:15Z</dcterms:created>
  <dcterms:modified xsi:type="dcterms:W3CDTF">2023-03-10T02:29:15Z</dcterms:modified>
</cp:coreProperties>
</file>